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6.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8.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1.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2.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12"/>
    <p:sldMasterId id="2147483809" r:id="rId13"/>
    <p:sldMasterId id="2147483833" r:id="rId14"/>
    <p:sldMasterId id="2147483858" r:id="rId15"/>
    <p:sldMasterId id="2147483881" r:id="rId16"/>
    <p:sldMasterId id="2147483906" r:id="rId17"/>
    <p:sldMasterId id="2147483929" r:id="rId18"/>
    <p:sldMasterId id="2147483971" r:id="rId19"/>
  </p:sldMasterIdLst>
  <p:notesMasterIdLst>
    <p:notesMasterId r:id="rId37"/>
  </p:notesMasterIdLst>
  <p:handoutMasterIdLst>
    <p:handoutMasterId r:id="rId38"/>
  </p:handoutMasterIdLst>
  <p:sldIdLst>
    <p:sldId id="2141412129" r:id="rId20"/>
    <p:sldId id="8380" r:id="rId21"/>
    <p:sldId id="2141412091" r:id="rId22"/>
    <p:sldId id="378" r:id="rId23"/>
    <p:sldId id="2141412145" r:id="rId24"/>
    <p:sldId id="8139" r:id="rId25"/>
    <p:sldId id="8390" r:id="rId26"/>
    <p:sldId id="2141412147" r:id="rId27"/>
    <p:sldId id="286" r:id="rId28"/>
    <p:sldId id="2895" r:id="rId29"/>
    <p:sldId id="2890" r:id="rId30"/>
    <p:sldId id="2898" r:id="rId31"/>
    <p:sldId id="2899" r:id="rId32"/>
    <p:sldId id="2141412148" r:id="rId33"/>
    <p:sldId id="8391" r:id="rId34"/>
    <p:sldId id="2141412153" r:id="rId35"/>
    <p:sldId id="2141412152" r:id="rId36"/>
  </p:sldIdLst>
  <p:sldSz cx="12192000" cy="6858000"/>
  <p:notesSz cx="6858000" cy="9144000"/>
  <p:embeddedFontLst>
    <p:embeddedFont>
      <p:font typeface="Arial" panose="020B0604020202020204" pitchFamily="34" charset="0"/>
      <p:regular r:id="rId39"/>
      <p:bold r:id="rId40"/>
      <p:italic r:id="rId41"/>
      <p:boldItalic r:id="rId42"/>
    </p:embeddedFont>
    <p:embeddedFont>
      <p:font typeface="TDC" panose="020B0503060202020204" pitchFamily="34" charset="0"/>
      <p:regular r:id="rId43"/>
      <p:bold r:id="rId44"/>
      <p:italic r:id="rId45"/>
      <p:boldItalic r:id="rId46"/>
    </p:embeddedFont>
    <p:embeddedFont>
      <p:font typeface="TDC NET" panose="00000500000000000000" pitchFamily="2" charset="0"/>
      <p:regular r:id="rId47"/>
      <p:bold r:id="rId48"/>
      <p:italic r:id="rId49"/>
    </p:embeddedFont>
    <p:embeddedFont>
      <p:font typeface="TDC NET Office" panose="00000500000000000000" pitchFamily="2" charset="0"/>
      <p:regular r:id="rId50"/>
      <p:bold r:id="rId51"/>
      <p:italic r:id="rId52"/>
      <p:boldItalic r:id="rId53"/>
    </p:embeddedFont>
  </p:embeddedFontLst>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E9BFDE65-AE0D-4F79-8F46-5D4EB0254501}">
          <p14:sldIdLst>
            <p14:sldId id="2141412129"/>
            <p14:sldId id="8380"/>
            <p14:sldId id="2141412091"/>
            <p14:sldId id="378"/>
            <p14:sldId id="2141412145"/>
            <p14:sldId id="8139"/>
            <p14:sldId id="8390"/>
            <p14:sldId id="2141412147"/>
            <p14:sldId id="286"/>
            <p14:sldId id="2895"/>
            <p14:sldId id="2890"/>
            <p14:sldId id="2898"/>
            <p14:sldId id="2899"/>
            <p14:sldId id="2141412148"/>
            <p14:sldId id="8391"/>
            <p14:sldId id="2141412153"/>
            <p14:sldId id="21414121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Forfatter" initials="F" lastIdx="1" clrIdx="4"/>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7878"/>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3995" autoAdjust="0"/>
  </p:normalViewPr>
  <p:slideViewPr>
    <p:cSldViewPr snapToGrid="0" showGuides="1">
      <p:cViewPr varScale="1">
        <p:scale>
          <a:sx n="96" d="100"/>
          <a:sy n="96" d="100"/>
        </p:scale>
        <p:origin x="1152" y="78"/>
      </p:cViewPr>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100" d="100"/>
        <a:sy n="100" d="100"/>
      </p:scale>
      <p:origin x="0" y="-653"/>
    </p:cViewPr>
  </p:sorterViewPr>
  <p:notesViewPr>
    <p:cSldViewPr snapToGrid="0">
      <p:cViewPr varScale="1">
        <p:scale>
          <a:sx n="63" d="100"/>
          <a:sy n="63" d="100"/>
        </p:scale>
        <p:origin x="2755" y="7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Master" Target="slideMasters/slideMaster7.xml"/><Relationship Id="rId26" Type="http://schemas.openxmlformats.org/officeDocument/2006/relationships/slide" Target="slides/slide7.xml"/><Relationship Id="rId39" Type="http://schemas.openxmlformats.org/officeDocument/2006/relationships/font" Target="fonts/font1.fntdata"/><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Master" Target="slideMasters/slideMaster6.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5.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font" Target="fonts/font3.fntdata"/><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4.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font" Target="fonts/font11.fntdata"/><Relationship Id="rId57"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Master" Target="slideMasters/slideMaster8.xml"/><Relationship Id="rId31" Type="http://schemas.openxmlformats.org/officeDocument/2006/relationships/slide" Target="slides/slide12.xml"/><Relationship Id="rId44" Type="http://schemas.openxmlformats.org/officeDocument/2006/relationships/font" Target="fonts/font6.fntdata"/><Relationship Id="rId52" Type="http://schemas.openxmlformats.org/officeDocument/2006/relationships/font" Target="fonts/font14.fntdata"/><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3.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font" Target="fonts/font13.fntdata"/><Relationship Id="rId3" Type="http://schemas.openxmlformats.org/officeDocument/2006/relationships/customXml" Target="../customXml/item3.xml"/></Relationships>
</file>

<file path=ppt/_rels/viewProps.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22/11/2023</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22/11/2023</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3434364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38685247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7.emf"/><Relationship Id="rId4" Type="http://schemas.openxmlformats.org/officeDocument/2006/relationships/oleObject" Target="../embeddings/oleObject5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7.emf"/><Relationship Id="rId5" Type="http://schemas.openxmlformats.org/officeDocument/2006/relationships/oleObject" Target="../embeddings/oleObject54.bin"/><Relationship Id="rId4" Type="http://schemas.openxmlformats.org/officeDocument/2006/relationships/image" Target="../media/image16.jpeg"/></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4.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18.emf"/></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6.xml"/><Relationship Id="rId7" Type="http://schemas.openxmlformats.org/officeDocument/2006/relationships/image" Target="../media/image5.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1.bin"/><Relationship Id="rId9" Type="http://schemas.openxmlformats.org/officeDocument/2006/relationships/image" Target="../media/image15.sv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4.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7.emf"/><Relationship Id="rId5" Type="http://schemas.openxmlformats.org/officeDocument/2006/relationships/oleObject" Target="../embeddings/oleObject68.bin"/><Relationship Id="rId4" Type="http://schemas.openxmlformats.org/officeDocument/2006/relationships/image" Target="../media/image16.jpeg"/></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8.emf"/><Relationship Id="rId4" Type="http://schemas.openxmlformats.org/officeDocument/2006/relationships/oleObject" Target="../embeddings/oleObject6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8.emf"/><Relationship Id="rId4" Type="http://schemas.openxmlformats.org/officeDocument/2006/relationships/oleObject" Target="../embeddings/oleObject7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21.jpeg"/><Relationship Id="rId5" Type="http://schemas.openxmlformats.org/officeDocument/2006/relationships/image" Target="../media/image1.emf"/><Relationship Id="rId10" Type="http://schemas.openxmlformats.org/officeDocument/2006/relationships/image" Target="../media/image2.emf"/><Relationship Id="rId4" Type="http://schemas.openxmlformats.org/officeDocument/2006/relationships/oleObject" Target="../embeddings/oleObject74.bin"/><Relationship Id="rId9" Type="http://schemas.openxmlformats.org/officeDocument/2006/relationships/image" Target="../media/image22.svg"/></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23.jpeg"/><Relationship Id="rId5" Type="http://schemas.openxmlformats.org/officeDocument/2006/relationships/image" Target="../media/image1.emf"/><Relationship Id="rId10" Type="http://schemas.openxmlformats.org/officeDocument/2006/relationships/image" Target="../media/image2.emf"/><Relationship Id="rId4" Type="http://schemas.openxmlformats.org/officeDocument/2006/relationships/oleObject" Target="../embeddings/oleObject75.bin"/><Relationship Id="rId9" Type="http://schemas.openxmlformats.org/officeDocument/2006/relationships/image" Target="../media/image22.svg"/></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7.xml"/><Relationship Id="rId7"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image" Target="../media/image35.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image" Target="../media/image36.png"/></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Master" Target="../slideMasters/slideMaster7.xml"/><Relationship Id="rId7" Type="http://schemas.openxmlformats.org/officeDocument/2006/relationships/image" Target="../media/image33.png"/><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image" Target="../media/image37.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4.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emf"/><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emf"/><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8.xml"/><Relationship Id="rId7" Type="http://schemas.openxmlformats.org/officeDocument/2006/relationships/image" Target="../media/image5.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1.bin"/><Relationship Id="rId9" Type="http://schemas.openxmlformats.org/officeDocument/2006/relationships/image" Target="../media/image22.svg"/></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8.xml"/><Relationship Id="rId7" Type="http://schemas.openxmlformats.org/officeDocument/2006/relationships/image" Target="../media/image5.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92.bin"/><Relationship Id="rId9" Type="http://schemas.openxmlformats.org/officeDocument/2006/relationships/image" Target="../media/image22.svg"/></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emf"/><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emf"/><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emf"/><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8.xml"/><Relationship Id="rId1" Type="http://schemas.openxmlformats.org/officeDocument/2006/relationships/tags" Target="../tags/tag196.xml"/><Relationship Id="rId4" Type="http://schemas.openxmlformats.org/officeDocument/2006/relationships/image" Target="../media/image18.emf"/></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image" Target="../media/image39.emf"/><Relationship Id="rId4" Type="http://schemas.openxmlformats.org/officeDocument/2006/relationships/oleObject" Target="../embeddings/oleObject10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7.sv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8.xml"/><Relationship Id="rId1" Type="http://schemas.openxmlformats.org/officeDocument/2006/relationships/tags" Target="../tags/tag199.xml"/><Relationship Id="rId4" Type="http://schemas.openxmlformats.org/officeDocument/2006/relationships/image" Target="../media/image39.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15.sv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7.emf"/><Relationship Id="rId5" Type="http://schemas.openxmlformats.org/officeDocument/2006/relationships/oleObject" Target="../embeddings/oleObject20.bin"/><Relationship Id="rId4" Type="http://schemas.openxmlformats.org/officeDocument/2006/relationships/image" Target="../media/image16.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8.emf"/><Relationship Id="rId4" Type="http://schemas.openxmlformats.org/officeDocument/2006/relationships/oleObject" Target="../embeddings/oleObject2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15.sv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7.emf"/><Relationship Id="rId4" Type="http://schemas.openxmlformats.org/officeDocument/2006/relationships/oleObject" Target="../embeddings/oleObject2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7.emf"/><Relationship Id="rId5" Type="http://schemas.openxmlformats.org/officeDocument/2006/relationships/oleObject" Target="../embeddings/oleObject30.bin"/><Relationship Id="rId4" Type="http://schemas.openxmlformats.org/officeDocument/2006/relationships/image" Target="../media/image16.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18.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7.bin"/><Relationship Id="rId9" Type="http://schemas.openxmlformats.org/officeDocument/2006/relationships/image" Target="../media/image15.sv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7.emf"/><Relationship Id="rId5" Type="http://schemas.openxmlformats.org/officeDocument/2006/relationships/oleObject" Target="../embeddings/oleObject44.bin"/><Relationship Id="rId4" Type="http://schemas.openxmlformats.org/officeDocument/2006/relationships/image" Target="../media/image16.jpeg"/></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8.emf"/><Relationship Id="rId4" Type="http://schemas.openxmlformats.org/officeDocument/2006/relationships/oleObject" Target="../embeddings/oleObject4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8.emf"/><Relationship Id="rId4" Type="http://schemas.openxmlformats.org/officeDocument/2006/relationships/oleObject" Target="../embeddings/oleObject46.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5.xml"/><Relationship Id="rId7" Type="http://schemas.openxmlformats.org/officeDocument/2006/relationships/image" Target="../media/image5.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9.bin"/><Relationship Id="rId9" Type="http://schemas.openxmlformats.org/officeDocument/2006/relationships/image" Target="../media/image15.sv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emf"/><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221793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We connect Denmark.</a:t>
            </a:r>
          </a:p>
          <a:p>
            <a:pPr algn="r"/>
            <a:r>
              <a:rPr lang="en-GB" sz="1600" i="0" dirty="0">
                <a:solidFill>
                  <a:schemeClr val="bg1"/>
                </a:solidFill>
                <a:latin typeface="+mj-lt"/>
              </a:rPr>
              <a:t>For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495429190"/>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370926861"/>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482926241"/>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57819239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mpty slid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EB638F6-ADAD-764C-88BD-1A37871F89BA}"/>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err="1"/>
          </a:p>
        </p:txBody>
      </p:sp>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5" name="Logo">
            <a:extLst>
              <a:ext uri="{FF2B5EF4-FFF2-40B4-BE49-F238E27FC236}">
                <a16:creationId xmlns:a16="http://schemas.microsoft.com/office/drawing/2014/main" id="{92002177-C400-5C4D-B620-734F4B1D02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6" name="Slide Number Placeholder 5 (FAST)">
            <a:extLst>
              <a:ext uri="{FF2B5EF4-FFF2-40B4-BE49-F238E27FC236}">
                <a16:creationId xmlns:a16="http://schemas.microsoft.com/office/drawing/2014/main" id="{11E13C77-20BF-EA47-BEAF-CFBDEA680F2D}"/>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40682846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Empty slid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EB638F6-ADAD-764C-88BD-1A37871F89B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a:p>
        </p:txBody>
      </p:sp>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5" name="Logo">
            <a:extLst>
              <a:ext uri="{FF2B5EF4-FFF2-40B4-BE49-F238E27FC236}">
                <a16:creationId xmlns:a16="http://schemas.microsoft.com/office/drawing/2014/main" id="{92002177-C400-5C4D-B620-734F4B1D02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6" name="Slide Number Placeholder 5 (FAST)">
            <a:extLst>
              <a:ext uri="{FF2B5EF4-FFF2-40B4-BE49-F238E27FC236}">
                <a16:creationId xmlns:a16="http://schemas.microsoft.com/office/drawing/2014/main" id="{11E13C77-20BF-EA47-BEAF-CFBDEA680F2D}"/>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38155999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509066409"/>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extLst>
              <p:ext uri="{D42A27DB-BD31-4B8C-83A1-F6EECF244321}">
                <p14:modId xmlns:p14="http://schemas.microsoft.com/office/powerpoint/2010/main" val="1662824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8" name="Background">
            <a:extLst>
              <a:ext uri="{FF2B5EF4-FFF2-40B4-BE49-F238E27FC236}">
                <a16:creationId xmlns:a16="http://schemas.microsoft.com/office/drawing/2014/main" id="{61B1D526-9715-4C65-83EE-79727CD02D30}"/>
              </a:ext>
            </a:extLst>
          </p:cNvPr>
          <p:cNvSpPr/>
          <p:nvPr userDrawn="1"/>
        </p:nvSpPr>
        <p:spPr>
          <a:xfrm>
            <a:off x="-17794" y="14471"/>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588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9" name="Content Placeholder 2">
            <a:extLst>
              <a:ext uri="{FF2B5EF4-FFF2-40B4-BE49-F238E27FC236}">
                <a16:creationId xmlns:a16="http://schemas.microsoft.com/office/drawing/2014/main" id="{CD43ADC1-5129-4F29-8E24-1B860028274D}"/>
              </a:ext>
            </a:extLst>
          </p:cNvPr>
          <p:cNvSpPr>
            <a:spLocks noGrp="1"/>
          </p:cNvSpPr>
          <p:nvPr>
            <p:ph idx="27"/>
          </p:nvPr>
        </p:nvSpPr>
        <p:spPr>
          <a:xfrm>
            <a:off x="7259152"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246620743"/>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wo Content C">
    <p:spTree>
      <p:nvGrpSpPr>
        <p:cNvPr id="1" name=""/>
        <p:cNvGrpSpPr/>
        <p:nvPr/>
      </p:nvGrpSpPr>
      <p:grpSpPr>
        <a:xfrm>
          <a:off x="0" y="0"/>
          <a:ext cx="0" cy="0"/>
          <a:chOff x="0" y="0"/>
          <a:chExt cx="0" cy="0"/>
        </a:xfrm>
      </p:grpSpPr>
      <p:pic>
        <p:nvPicPr>
          <p:cNvPr id="5" name="Billede 4" descr="Et billede, der indeholder udendørs, strand, felt, mand&#10;&#10;Automatisk genereret beskrivelse">
            <a:extLst>
              <a:ext uri="{FF2B5EF4-FFF2-40B4-BE49-F238E27FC236}">
                <a16:creationId xmlns:a16="http://schemas.microsoft.com/office/drawing/2014/main" id="{5B0117A3-0626-2D43-9A00-0A71BD7CF6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8282" r="8362" b="16644"/>
          <a:stretch/>
        </p:blipFill>
        <p:spPr>
          <a:xfrm>
            <a:off x="0" y="0"/>
            <a:ext cx="6677576" cy="6858000"/>
          </a:xfrm>
          <a:prstGeom prst="rect">
            <a:avLst/>
          </a:prstGeom>
        </p:spPr>
      </p:pic>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11" name="Logo">
            <a:extLst>
              <a:ext uri="{FF2B5EF4-FFF2-40B4-BE49-F238E27FC236}">
                <a16:creationId xmlns:a16="http://schemas.microsoft.com/office/drawing/2014/main" id="{A2EC3281-5937-7846-BBB7-D194965E8D8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10" name="Content Placeholder 2">
            <a:extLst>
              <a:ext uri="{FF2B5EF4-FFF2-40B4-BE49-F238E27FC236}">
                <a16:creationId xmlns:a16="http://schemas.microsoft.com/office/drawing/2014/main" id="{3062EEB9-DA01-4B99-9774-25C8926F6F8F}"/>
              </a:ext>
            </a:extLst>
          </p:cNvPr>
          <p:cNvSpPr>
            <a:spLocks noGrp="1"/>
          </p:cNvSpPr>
          <p:nvPr>
            <p:ph idx="28"/>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1348221655"/>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27905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1"/>
                </a:solidFill>
                <a:latin typeface="+mj-lt"/>
              </a:rPr>
              <a:t>We connect Denmark.</a:t>
            </a:r>
          </a:p>
          <a:p>
            <a:pPr algn="r"/>
            <a:r>
              <a:rPr lang="en-GB" sz="2000" i="0">
                <a:solidFill>
                  <a:schemeClr val="accent1"/>
                </a:solidFill>
                <a:latin typeface="+mj-lt"/>
              </a:rPr>
              <a:t>For everyone.</a:t>
            </a: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a:t>Click to add title</a:t>
            </a:r>
          </a:p>
        </p:txBody>
      </p:sp>
    </p:spTree>
    <p:extLst>
      <p:ext uri="{BB962C8B-B14F-4D97-AF65-F5344CB8AC3E}">
        <p14:creationId xmlns:p14="http://schemas.microsoft.com/office/powerpoint/2010/main" val="728540685"/>
      </p:ext>
    </p:extLst>
  </p:cSld>
  <p:clrMapOvr>
    <a:masterClrMapping/>
  </p:clrMapOvr>
  <p:hf hdr="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428431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1506904580"/>
      </p:ext>
    </p:extLst>
  </p:cSld>
  <p:clrMapOvr>
    <a:masterClrMapping/>
  </p:clrMapOvr>
  <p:hf hdr="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246950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2"/>
                </a:solidFill>
                <a:latin typeface="+mj-lt"/>
              </a:rPr>
              <a:t>We connect Denmark.</a:t>
            </a:r>
          </a:p>
          <a:p>
            <a:pPr algn="r"/>
            <a:r>
              <a:rPr lang="en-GB" sz="2000" i="0">
                <a:solidFill>
                  <a:schemeClr val="accent2"/>
                </a:solidFill>
                <a:latin typeface="+mj-lt"/>
              </a:rPr>
              <a:t>For everyone.</a:t>
            </a:r>
          </a:p>
        </p:txBody>
      </p:sp>
    </p:spTree>
    <p:extLst>
      <p:ext uri="{BB962C8B-B14F-4D97-AF65-F5344CB8AC3E}">
        <p14:creationId xmlns:p14="http://schemas.microsoft.com/office/powerpoint/2010/main" val="708507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079359329"/>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bg1"/>
                </a:solidFill>
                <a:latin typeface="+mj-lt"/>
              </a:rPr>
              <a:t>We connect Denmark.</a:t>
            </a:r>
          </a:p>
          <a:p>
            <a:pPr algn="r"/>
            <a:r>
              <a:rPr lang="en-GB" sz="2000" i="0">
                <a:solidFill>
                  <a:schemeClr val="bg1"/>
                </a:solidFill>
                <a:latin typeface="+mj-lt"/>
              </a:rPr>
              <a:t>To benefit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725339886"/>
      </p:ext>
    </p:extLst>
  </p:cSld>
  <p:clrMapOvr>
    <a:masterClrMapping/>
  </p:clrMapOvr>
  <p:hf hdr="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Tree>
    <p:extLst>
      <p:ext uri="{BB962C8B-B14F-4D97-AF65-F5344CB8AC3E}">
        <p14:creationId xmlns:p14="http://schemas.microsoft.com/office/powerpoint/2010/main" val="73003456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da-DK"/>
              <a:t>Klik for at redigere titeltypografien i masteren</a:t>
            </a:r>
            <a:endParaRPr lang="en-US"/>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a:solidFill>
                <a:srgbClr val="808080"/>
              </a:solidFill>
              <a:latin typeface="+mn-lt"/>
              <a:ea typeface="+mn-ea"/>
            </a:endParaRPr>
          </a:p>
        </p:txBody>
      </p:sp>
      <p:sp>
        <p:nvSpPr>
          <p:cNvPr id="6" name="ColorBackground1Rectangle">
            <a:extLst>
              <a:ext uri="{FF2B5EF4-FFF2-40B4-BE49-F238E27FC236}">
                <a16:creationId xmlns:a16="http://schemas.microsoft.com/office/drawing/2014/main" id="{AE47DC73-0D1B-466F-830E-1A0CD1D30BE9}"/>
              </a:ext>
            </a:extLst>
          </p:cNvPr>
          <p:cNvSpPr>
            <a:spLocks noChangeArrowheads="1"/>
          </p:cNvSpPr>
          <p:nvPr userDrawn="1"/>
        </p:nvSpPr>
        <p:spPr bwMode="gray">
          <a:xfrm>
            <a:off x="-1007925" y="-840"/>
            <a:ext cx="966408" cy="610440"/>
          </a:xfrm>
          <a:prstGeom prst="rect">
            <a:avLst/>
          </a:prstGeom>
          <a:solidFill>
            <a:schemeClr val="bg1"/>
          </a:solidFill>
          <a:ln w="9525">
            <a:solidFill>
              <a:srgbClr val="60606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07" tIns="60953" rIns="121907" bIns="60953" numCol="1" anchor="ctr" anchorCtr="0" compatLnSpc="1">
            <a:prstTxWarp prst="textNoShape">
              <a:avLst/>
            </a:prstTxWarp>
            <a:noAutofit/>
          </a:bodyPr>
          <a:lstStyle/>
          <a:p>
            <a:pPr algn="ctr" defTabSz="1243918"/>
            <a:r>
              <a:rPr lang="en-US" sz="1333">
                <a:solidFill>
                  <a:srgbClr val="000000"/>
                </a:solidFill>
                <a:latin typeface="+mn-lt"/>
                <a:cs typeface="Arial" pitchFamily="34" charset="0"/>
              </a:rPr>
              <a:t>255
255
255</a:t>
            </a:r>
          </a:p>
        </p:txBody>
      </p:sp>
      <p:sp>
        <p:nvSpPr>
          <p:cNvPr id="7" name="Rectangle 8">
            <a:extLst>
              <a:ext uri="{FF2B5EF4-FFF2-40B4-BE49-F238E27FC236}">
                <a16:creationId xmlns:a16="http://schemas.microsoft.com/office/drawing/2014/main" id="{8890E92C-BC59-4F8A-A731-AFC224002606}"/>
              </a:ext>
            </a:extLst>
          </p:cNvPr>
          <p:cNvSpPr>
            <a:spLocks noChangeArrowheads="1"/>
          </p:cNvSpPr>
          <p:nvPr userDrawn="1"/>
        </p:nvSpPr>
        <p:spPr bwMode="gray">
          <a:xfrm>
            <a:off x="-1845616" y="-12545"/>
            <a:ext cx="955340" cy="342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Background</a:t>
            </a:r>
          </a:p>
          <a:p>
            <a:pPr defTabSz="1243918"/>
            <a:r>
              <a:rPr lang="en-US" sz="1067">
                <a:latin typeface="+mn-lt"/>
                <a:cs typeface="Arial" pitchFamily="34" charset="0"/>
              </a:rPr>
              <a:t>Color</a:t>
            </a:r>
          </a:p>
        </p:txBody>
      </p:sp>
      <p:sp>
        <p:nvSpPr>
          <p:cNvPr id="8" name="ColorBackground1Rectangle">
            <a:extLst>
              <a:ext uri="{FF2B5EF4-FFF2-40B4-BE49-F238E27FC236}">
                <a16:creationId xmlns:a16="http://schemas.microsoft.com/office/drawing/2014/main" id="{07DC8356-58DE-4943-93FF-997BFFD910EE}"/>
              </a:ext>
            </a:extLst>
          </p:cNvPr>
          <p:cNvSpPr>
            <a:spLocks noChangeArrowheads="1"/>
          </p:cNvSpPr>
          <p:nvPr userDrawn="1"/>
        </p:nvSpPr>
        <p:spPr bwMode="gray">
          <a:xfrm>
            <a:off x="-1007925" y="639114"/>
            <a:ext cx="966408" cy="612648"/>
          </a:xfrm>
          <a:prstGeom prst="rect">
            <a:avLst/>
          </a:prstGeom>
          <a:solidFill>
            <a:srgbClr val="000000"/>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a:solidFill>
                  <a:schemeClr val="bg1"/>
                </a:solidFill>
                <a:latin typeface="+mn-lt"/>
                <a:cs typeface="Arial" pitchFamily="34" charset="0"/>
              </a:rPr>
              <a:t>0</a:t>
            </a:r>
          </a:p>
          <a:p>
            <a:pPr algn="ctr" defTabSz="1243918"/>
            <a:r>
              <a:rPr lang="en-US" sz="1333">
                <a:solidFill>
                  <a:schemeClr val="bg1"/>
                </a:solidFill>
                <a:latin typeface="+mn-lt"/>
                <a:cs typeface="Arial" pitchFamily="34" charset="0"/>
              </a:rPr>
              <a:t>0</a:t>
            </a:r>
          </a:p>
          <a:p>
            <a:pPr algn="ctr" defTabSz="1243918"/>
            <a:r>
              <a:rPr lang="en-US" sz="1333">
                <a:solidFill>
                  <a:schemeClr val="bg1"/>
                </a:solidFill>
                <a:latin typeface="+mn-lt"/>
                <a:cs typeface="Arial" pitchFamily="34" charset="0"/>
              </a:rPr>
              <a:t>0</a:t>
            </a:r>
          </a:p>
        </p:txBody>
      </p:sp>
      <p:sp>
        <p:nvSpPr>
          <p:cNvPr id="9" name="Rectangle 8">
            <a:extLst>
              <a:ext uri="{FF2B5EF4-FFF2-40B4-BE49-F238E27FC236}">
                <a16:creationId xmlns:a16="http://schemas.microsoft.com/office/drawing/2014/main" id="{8347244E-DFB4-489B-973B-381AA9ADF6FB}"/>
              </a:ext>
            </a:extLst>
          </p:cNvPr>
          <p:cNvSpPr>
            <a:spLocks noChangeArrowheads="1"/>
          </p:cNvSpPr>
          <p:nvPr userDrawn="1"/>
        </p:nvSpPr>
        <p:spPr bwMode="gray">
          <a:xfrm>
            <a:off x="-1845616" y="627409"/>
            <a:ext cx="955340" cy="32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Default text</a:t>
            </a:r>
          </a:p>
          <a:p>
            <a:pPr defTabSz="1243918"/>
            <a:r>
              <a:rPr lang="en-US" sz="1067">
                <a:latin typeface="+mn-lt"/>
                <a:cs typeface="Arial" pitchFamily="34" charset="0"/>
              </a:rPr>
              <a:t>Color</a:t>
            </a:r>
          </a:p>
        </p:txBody>
      </p:sp>
      <p:sp>
        <p:nvSpPr>
          <p:cNvPr id="10" name="ColorBackground1Rectangle">
            <a:extLst>
              <a:ext uri="{FF2B5EF4-FFF2-40B4-BE49-F238E27FC236}">
                <a16:creationId xmlns:a16="http://schemas.microsoft.com/office/drawing/2014/main" id="{1C52D22B-0139-4499-B806-BCED7EED7EF7}"/>
              </a:ext>
            </a:extLst>
          </p:cNvPr>
          <p:cNvSpPr>
            <a:spLocks noChangeArrowheads="1"/>
          </p:cNvSpPr>
          <p:nvPr userDrawn="1"/>
        </p:nvSpPr>
        <p:spPr bwMode="gray">
          <a:xfrm>
            <a:off x="-1007925" y="1276728"/>
            <a:ext cx="966408" cy="612648"/>
          </a:xfrm>
          <a:prstGeom prst="rect">
            <a:avLst/>
          </a:prstGeom>
          <a:solidFill>
            <a:srgbClr val="E9F1E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a:solidFill>
                  <a:schemeClr val="tx1"/>
                </a:solidFill>
                <a:latin typeface="+mn-lt"/>
                <a:cs typeface="Arial" pitchFamily="34" charset="0"/>
              </a:rPr>
              <a:t>233</a:t>
            </a:r>
          </a:p>
          <a:p>
            <a:pPr algn="ctr" defTabSz="1243918"/>
            <a:r>
              <a:rPr lang="en-US" sz="1333">
                <a:solidFill>
                  <a:schemeClr val="tx1"/>
                </a:solidFill>
                <a:latin typeface="+mn-lt"/>
                <a:cs typeface="Arial" pitchFamily="34" charset="0"/>
              </a:rPr>
              <a:t>241</a:t>
            </a:r>
          </a:p>
          <a:p>
            <a:pPr algn="ctr" defTabSz="1243918"/>
            <a:r>
              <a:rPr lang="en-US" sz="1333">
                <a:solidFill>
                  <a:schemeClr val="tx1"/>
                </a:solidFill>
                <a:latin typeface="+mn-lt"/>
                <a:cs typeface="Arial" pitchFamily="34" charset="0"/>
              </a:rPr>
              <a:t>239</a:t>
            </a:r>
          </a:p>
        </p:txBody>
      </p:sp>
      <p:sp>
        <p:nvSpPr>
          <p:cNvPr id="11" name="Rectangle 8">
            <a:extLst>
              <a:ext uri="{FF2B5EF4-FFF2-40B4-BE49-F238E27FC236}">
                <a16:creationId xmlns:a16="http://schemas.microsoft.com/office/drawing/2014/main" id="{BDACE4AB-596B-4DBA-9E17-939EC0C3BB5B}"/>
              </a:ext>
            </a:extLst>
          </p:cNvPr>
          <p:cNvSpPr>
            <a:spLocks noChangeArrowheads="1"/>
          </p:cNvSpPr>
          <p:nvPr userDrawn="1"/>
        </p:nvSpPr>
        <p:spPr bwMode="gray">
          <a:xfrm>
            <a:off x="-1845616" y="1265023"/>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Background 2</a:t>
            </a:r>
          </a:p>
        </p:txBody>
      </p:sp>
      <p:sp>
        <p:nvSpPr>
          <p:cNvPr id="12" name="ColorBackground1Rectangle">
            <a:extLst>
              <a:ext uri="{FF2B5EF4-FFF2-40B4-BE49-F238E27FC236}">
                <a16:creationId xmlns:a16="http://schemas.microsoft.com/office/drawing/2014/main" id="{241194B4-DC84-4DC8-8921-7876917D3D2E}"/>
              </a:ext>
            </a:extLst>
          </p:cNvPr>
          <p:cNvSpPr>
            <a:spLocks noChangeArrowheads="1"/>
          </p:cNvSpPr>
          <p:nvPr userDrawn="1"/>
        </p:nvSpPr>
        <p:spPr bwMode="gray">
          <a:xfrm>
            <a:off x="-1007925" y="1924152"/>
            <a:ext cx="966408" cy="612648"/>
          </a:xfrm>
          <a:prstGeom prst="rect">
            <a:avLst/>
          </a:prstGeom>
          <a:solidFill>
            <a:srgbClr val="0063A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99</a:t>
            </a:r>
          </a:p>
          <a:p>
            <a:pPr algn="ctr" defTabSz="1243918"/>
            <a:r>
              <a:rPr lang="en-US" sz="1333" b="1">
                <a:solidFill>
                  <a:schemeClr val="bg1"/>
                </a:solidFill>
                <a:latin typeface="+mn-lt"/>
                <a:cs typeface="Arial" pitchFamily="34" charset="0"/>
              </a:rPr>
              <a:t>175</a:t>
            </a:r>
          </a:p>
        </p:txBody>
      </p:sp>
      <p:sp>
        <p:nvSpPr>
          <p:cNvPr id="13" name="Rectangle 8">
            <a:extLst>
              <a:ext uri="{FF2B5EF4-FFF2-40B4-BE49-F238E27FC236}">
                <a16:creationId xmlns:a16="http://schemas.microsoft.com/office/drawing/2014/main" id="{0F18EFA4-544D-45E4-BFAD-AE163C122C0C}"/>
              </a:ext>
            </a:extLst>
          </p:cNvPr>
          <p:cNvSpPr>
            <a:spLocks noChangeArrowheads="1"/>
          </p:cNvSpPr>
          <p:nvPr userDrawn="1"/>
        </p:nvSpPr>
        <p:spPr bwMode="gray">
          <a:xfrm>
            <a:off x="-1845616" y="1912447"/>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Title Color</a:t>
            </a:r>
          </a:p>
        </p:txBody>
      </p:sp>
      <p:sp>
        <p:nvSpPr>
          <p:cNvPr id="14" name="ColorBackground1Rectangle">
            <a:extLst>
              <a:ext uri="{FF2B5EF4-FFF2-40B4-BE49-F238E27FC236}">
                <a16:creationId xmlns:a16="http://schemas.microsoft.com/office/drawing/2014/main" id="{8EBEB7E3-E6D7-4DAD-8A5A-9319174A181C}"/>
              </a:ext>
            </a:extLst>
          </p:cNvPr>
          <p:cNvSpPr>
            <a:spLocks noChangeArrowheads="1"/>
          </p:cNvSpPr>
          <p:nvPr userDrawn="1"/>
        </p:nvSpPr>
        <p:spPr bwMode="gray">
          <a:xfrm>
            <a:off x="-1007925" y="2568300"/>
            <a:ext cx="966408" cy="612648"/>
          </a:xfrm>
          <a:prstGeom prst="rect">
            <a:avLst/>
          </a:prstGeom>
          <a:solidFill>
            <a:srgbClr val="99CCE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0">
                <a:solidFill>
                  <a:schemeClr val="tx1"/>
                </a:solidFill>
                <a:latin typeface="+mn-lt"/>
                <a:cs typeface="Arial" pitchFamily="34" charset="0"/>
              </a:rPr>
              <a:t>153</a:t>
            </a:r>
          </a:p>
          <a:p>
            <a:pPr algn="ctr" defTabSz="1243918"/>
            <a:r>
              <a:rPr lang="en-US" sz="1333" b="0">
                <a:solidFill>
                  <a:schemeClr val="tx1"/>
                </a:solidFill>
                <a:latin typeface="+mn-lt"/>
                <a:cs typeface="Arial" pitchFamily="34" charset="0"/>
              </a:rPr>
              <a:t>204</a:t>
            </a:r>
          </a:p>
          <a:p>
            <a:pPr algn="ctr" defTabSz="1243918"/>
            <a:r>
              <a:rPr lang="en-US" sz="1333" b="0">
                <a:solidFill>
                  <a:schemeClr val="tx1"/>
                </a:solidFill>
                <a:latin typeface="+mn-lt"/>
                <a:cs typeface="Arial" pitchFamily="34" charset="0"/>
              </a:rPr>
              <a:t>239</a:t>
            </a:r>
          </a:p>
        </p:txBody>
      </p:sp>
      <p:sp>
        <p:nvSpPr>
          <p:cNvPr id="15" name="Rectangle 8">
            <a:extLst>
              <a:ext uri="{FF2B5EF4-FFF2-40B4-BE49-F238E27FC236}">
                <a16:creationId xmlns:a16="http://schemas.microsoft.com/office/drawing/2014/main" id="{AB121702-C144-4806-9A2A-B6D43E891230}"/>
              </a:ext>
            </a:extLst>
          </p:cNvPr>
          <p:cNvSpPr>
            <a:spLocks noChangeArrowheads="1"/>
          </p:cNvSpPr>
          <p:nvPr userDrawn="1"/>
        </p:nvSpPr>
        <p:spPr bwMode="gray">
          <a:xfrm>
            <a:off x="-1845616" y="2556595"/>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1</a:t>
            </a:r>
          </a:p>
        </p:txBody>
      </p:sp>
      <p:sp>
        <p:nvSpPr>
          <p:cNvPr id="16" name="ColorBackground1Rectangle">
            <a:extLst>
              <a:ext uri="{FF2B5EF4-FFF2-40B4-BE49-F238E27FC236}">
                <a16:creationId xmlns:a16="http://schemas.microsoft.com/office/drawing/2014/main" id="{966FADC8-AC88-46D2-B476-169A57EFD591}"/>
              </a:ext>
            </a:extLst>
          </p:cNvPr>
          <p:cNvSpPr>
            <a:spLocks noChangeArrowheads="1"/>
          </p:cNvSpPr>
          <p:nvPr userDrawn="1"/>
        </p:nvSpPr>
        <p:spPr bwMode="gray">
          <a:xfrm>
            <a:off x="-1007925" y="3209420"/>
            <a:ext cx="966408" cy="612648"/>
          </a:xfrm>
          <a:prstGeom prst="rect">
            <a:avLst/>
          </a:prstGeom>
          <a:solidFill>
            <a:srgbClr val="10A2ED"/>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16</a:t>
            </a:r>
          </a:p>
          <a:p>
            <a:pPr algn="ctr" defTabSz="1243918"/>
            <a:r>
              <a:rPr lang="en-US" sz="1333" b="1">
                <a:solidFill>
                  <a:schemeClr val="bg1"/>
                </a:solidFill>
                <a:latin typeface="+mn-lt"/>
                <a:cs typeface="Arial" pitchFamily="34" charset="0"/>
              </a:rPr>
              <a:t>162</a:t>
            </a:r>
          </a:p>
          <a:p>
            <a:pPr algn="ctr" defTabSz="1243918"/>
            <a:r>
              <a:rPr lang="en-US" sz="1333" b="1">
                <a:solidFill>
                  <a:schemeClr val="bg1"/>
                </a:solidFill>
                <a:latin typeface="+mn-lt"/>
                <a:cs typeface="Arial" pitchFamily="34" charset="0"/>
              </a:rPr>
              <a:t>237</a:t>
            </a:r>
          </a:p>
        </p:txBody>
      </p:sp>
      <p:sp>
        <p:nvSpPr>
          <p:cNvPr id="17" name="Rectangle 8">
            <a:extLst>
              <a:ext uri="{FF2B5EF4-FFF2-40B4-BE49-F238E27FC236}">
                <a16:creationId xmlns:a16="http://schemas.microsoft.com/office/drawing/2014/main" id="{FE50CA79-5AA9-4979-B8FB-85161AA6A074}"/>
              </a:ext>
            </a:extLst>
          </p:cNvPr>
          <p:cNvSpPr>
            <a:spLocks noChangeArrowheads="1"/>
          </p:cNvSpPr>
          <p:nvPr userDrawn="1"/>
        </p:nvSpPr>
        <p:spPr bwMode="gray">
          <a:xfrm>
            <a:off x="-1845616" y="3197715"/>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2</a:t>
            </a:r>
          </a:p>
        </p:txBody>
      </p:sp>
      <p:sp>
        <p:nvSpPr>
          <p:cNvPr id="18" name="ColorBackground1Rectangle">
            <a:extLst>
              <a:ext uri="{FF2B5EF4-FFF2-40B4-BE49-F238E27FC236}">
                <a16:creationId xmlns:a16="http://schemas.microsoft.com/office/drawing/2014/main" id="{7EAC6C63-2118-45D9-BCE8-5FFA23886A68}"/>
              </a:ext>
            </a:extLst>
          </p:cNvPr>
          <p:cNvSpPr>
            <a:spLocks noChangeArrowheads="1"/>
          </p:cNvSpPr>
          <p:nvPr userDrawn="1"/>
        </p:nvSpPr>
        <p:spPr bwMode="gray">
          <a:xfrm>
            <a:off x="-1007925" y="3859937"/>
            <a:ext cx="966408" cy="612648"/>
          </a:xfrm>
          <a:prstGeom prst="rect">
            <a:avLst/>
          </a:prstGeom>
          <a:solidFill>
            <a:srgbClr val="0063A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99</a:t>
            </a:r>
          </a:p>
          <a:p>
            <a:pPr algn="ctr" defTabSz="1243918"/>
            <a:r>
              <a:rPr lang="en-US" sz="1333" b="1">
                <a:solidFill>
                  <a:schemeClr val="bg1"/>
                </a:solidFill>
                <a:latin typeface="+mn-lt"/>
                <a:cs typeface="Arial" pitchFamily="34" charset="0"/>
              </a:rPr>
              <a:t>175</a:t>
            </a:r>
          </a:p>
        </p:txBody>
      </p:sp>
      <p:sp>
        <p:nvSpPr>
          <p:cNvPr id="19" name="Rectangle 8">
            <a:extLst>
              <a:ext uri="{FF2B5EF4-FFF2-40B4-BE49-F238E27FC236}">
                <a16:creationId xmlns:a16="http://schemas.microsoft.com/office/drawing/2014/main" id="{3CE1C76B-A5B3-40A1-98E5-5257E84BE9F5}"/>
              </a:ext>
            </a:extLst>
          </p:cNvPr>
          <p:cNvSpPr>
            <a:spLocks noChangeArrowheads="1"/>
          </p:cNvSpPr>
          <p:nvPr userDrawn="1"/>
        </p:nvSpPr>
        <p:spPr bwMode="gray">
          <a:xfrm>
            <a:off x="-1845616" y="3848232"/>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3</a:t>
            </a:r>
          </a:p>
        </p:txBody>
      </p:sp>
      <p:sp>
        <p:nvSpPr>
          <p:cNvPr id="20" name="ColorBackground1Rectangle">
            <a:extLst>
              <a:ext uri="{FF2B5EF4-FFF2-40B4-BE49-F238E27FC236}">
                <a16:creationId xmlns:a16="http://schemas.microsoft.com/office/drawing/2014/main" id="{BE39AA17-9B42-48E4-AA8B-7F06C9D10841}"/>
              </a:ext>
            </a:extLst>
          </p:cNvPr>
          <p:cNvSpPr>
            <a:spLocks noChangeArrowheads="1"/>
          </p:cNvSpPr>
          <p:nvPr userDrawn="1"/>
        </p:nvSpPr>
        <p:spPr bwMode="gray">
          <a:xfrm>
            <a:off x="-1007925" y="4510454"/>
            <a:ext cx="966408" cy="612648"/>
          </a:xfrm>
          <a:prstGeom prst="rect">
            <a:avLst/>
          </a:prstGeom>
          <a:solidFill>
            <a:srgbClr val="003C6A"/>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60</a:t>
            </a:r>
          </a:p>
          <a:p>
            <a:pPr algn="ctr" defTabSz="1243918"/>
            <a:r>
              <a:rPr lang="en-US" sz="1333" b="1">
                <a:solidFill>
                  <a:schemeClr val="bg1"/>
                </a:solidFill>
                <a:latin typeface="+mn-lt"/>
                <a:cs typeface="Arial" pitchFamily="34" charset="0"/>
              </a:rPr>
              <a:t>106</a:t>
            </a:r>
          </a:p>
        </p:txBody>
      </p:sp>
      <p:sp>
        <p:nvSpPr>
          <p:cNvPr id="21" name="Rectangle 8">
            <a:extLst>
              <a:ext uri="{FF2B5EF4-FFF2-40B4-BE49-F238E27FC236}">
                <a16:creationId xmlns:a16="http://schemas.microsoft.com/office/drawing/2014/main" id="{726720F9-1515-43CC-AD3D-CD33219B4700}"/>
              </a:ext>
            </a:extLst>
          </p:cNvPr>
          <p:cNvSpPr>
            <a:spLocks noChangeArrowheads="1"/>
          </p:cNvSpPr>
          <p:nvPr userDrawn="1"/>
        </p:nvSpPr>
        <p:spPr bwMode="gray">
          <a:xfrm>
            <a:off x="-1845616" y="4498749"/>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4</a:t>
            </a:r>
          </a:p>
        </p:txBody>
      </p:sp>
      <p:sp>
        <p:nvSpPr>
          <p:cNvPr id="22" name="ColorBackground1Rectangle">
            <a:extLst>
              <a:ext uri="{FF2B5EF4-FFF2-40B4-BE49-F238E27FC236}">
                <a16:creationId xmlns:a16="http://schemas.microsoft.com/office/drawing/2014/main" id="{7CF1419C-B1A6-413F-950F-04839CF9C324}"/>
              </a:ext>
            </a:extLst>
          </p:cNvPr>
          <p:cNvSpPr>
            <a:spLocks noChangeArrowheads="1"/>
          </p:cNvSpPr>
          <p:nvPr userDrawn="1"/>
        </p:nvSpPr>
        <p:spPr bwMode="gray">
          <a:xfrm>
            <a:off x="-1007925" y="5159943"/>
            <a:ext cx="966408" cy="612648"/>
          </a:xfrm>
          <a:prstGeom prst="rect">
            <a:avLst/>
          </a:prstGeom>
          <a:solidFill>
            <a:srgbClr val="A90504"/>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169</a:t>
            </a:r>
          </a:p>
          <a:p>
            <a:pPr algn="ctr" defTabSz="1243918"/>
            <a:r>
              <a:rPr lang="en-US" sz="1333" b="1">
                <a:solidFill>
                  <a:schemeClr val="bg1"/>
                </a:solidFill>
                <a:latin typeface="+mn-lt"/>
                <a:cs typeface="Arial" pitchFamily="34" charset="0"/>
              </a:rPr>
              <a:t>5</a:t>
            </a:r>
          </a:p>
          <a:p>
            <a:pPr algn="ctr" defTabSz="1243918"/>
            <a:r>
              <a:rPr lang="en-US" sz="1333" b="1">
                <a:solidFill>
                  <a:schemeClr val="bg1"/>
                </a:solidFill>
                <a:latin typeface="+mn-lt"/>
                <a:cs typeface="Arial" pitchFamily="34" charset="0"/>
              </a:rPr>
              <a:t>4</a:t>
            </a:r>
          </a:p>
        </p:txBody>
      </p:sp>
      <p:sp>
        <p:nvSpPr>
          <p:cNvPr id="23" name="Rectangle 8">
            <a:extLst>
              <a:ext uri="{FF2B5EF4-FFF2-40B4-BE49-F238E27FC236}">
                <a16:creationId xmlns:a16="http://schemas.microsoft.com/office/drawing/2014/main" id="{BB54C782-C757-42B9-8897-3B6F49BFE103}"/>
              </a:ext>
            </a:extLst>
          </p:cNvPr>
          <p:cNvSpPr>
            <a:spLocks noChangeArrowheads="1"/>
          </p:cNvSpPr>
          <p:nvPr userDrawn="1"/>
        </p:nvSpPr>
        <p:spPr bwMode="gray">
          <a:xfrm>
            <a:off x="-1845616" y="5148238"/>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5</a:t>
            </a:r>
          </a:p>
        </p:txBody>
      </p:sp>
      <p:sp>
        <p:nvSpPr>
          <p:cNvPr id="24" name="ColorBackground1Rectangle">
            <a:extLst>
              <a:ext uri="{FF2B5EF4-FFF2-40B4-BE49-F238E27FC236}">
                <a16:creationId xmlns:a16="http://schemas.microsoft.com/office/drawing/2014/main" id="{BFBBF05B-D271-4FC4-BF15-F4568C9AC311}"/>
              </a:ext>
            </a:extLst>
          </p:cNvPr>
          <p:cNvSpPr>
            <a:spLocks noChangeArrowheads="1"/>
          </p:cNvSpPr>
          <p:nvPr userDrawn="1"/>
        </p:nvSpPr>
        <p:spPr bwMode="gray">
          <a:xfrm>
            <a:off x="-1007925" y="5808349"/>
            <a:ext cx="966408" cy="612648"/>
          </a:xfrm>
          <a:prstGeom prst="rect">
            <a:avLst/>
          </a:prstGeom>
          <a:solidFill>
            <a:srgbClr val="A6A6A6"/>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0">
                <a:solidFill>
                  <a:schemeClr val="tx1"/>
                </a:solidFill>
                <a:latin typeface="+mn-lt"/>
                <a:cs typeface="Arial" pitchFamily="34" charset="0"/>
              </a:rPr>
              <a:t>166</a:t>
            </a:r>
          </a:p>
          <a:p>
            <a:pPr algn="ctr" defTabSz="1243918"/>
            <a:r>
              <a:rPr lang="en-US" sz="1333" b="0">
                <a:solidFill>
                  <a:schemeClr val="tx1"/>
                </a:solidFill>
                <a:latin typeface="+mn-lt"/>
                <a:cs typeface="Arial" pitchFamily="34" charset="0"/>
              </a:rPr>
              <a:t>166</a:t>
            </a:r>
          </a:p>
          <a:p>
            <a:pPr algn="ctr" defTabSz="1243918"/>
            <a:r>
              <a:rPr lang="en-US" sz="1333" b="0">
                <a:solidFill>
                  <a:schemeClr val="tx1"/>
                </a:solidFill>
                <a:latin typeface="+mn-lt"/>
                <a:cs typeface="Arial" pitchFamily="34" charset="0"/>
              </a:rPr>
              <a:t>166</a:t>
            </a:r>
          </a:p>
        </p:txBody>
      </p:sp>
      <p:sp>
        <p:nvSpPr>
          <p:cNvPr id="25" name="Rectangle 8">
            <a:extLst>
              <a:ext uri="{FF2B5EF4-FFF2-40B4-BE49-F238E27FC236}">
                <a16:creationId xmlns:a16="http://schemas.microsoft.com/office/drawing/2014/main" id="{854CC1FF-55A5-4749-9B24-7A6822F600F1}"/>
              </a:ext>
            </a:extLst>
          </p:cNvPr>
          <p:cNvSpPr>
            <a:spLocks noChangeArrowheads="1"/>
          </p:cNvSpPr>
          <p:nvPr userDrawn="1"/>
        </p:nvSpPr>
        <p:spPr bwMode="gray">
          <a:xfrm>
            <a:off x="-1845616" y="5796644"/>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Outline Color</a:t>
            </a:r>
          </a:p>
        </p:txBody>
      </p:sp>
    </p:spTree>
    <p:extLst>
      <p:ext uri="{BB962C8B-B14F-4D97-AF65-F5344CB8AC3E}">
        <p14:creationId xmlns:p14="http://schemas.microsoft.com/office/powerpoint/2010/main" val="1683829951"/>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23118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We connect Denmark.</a:t>
            </a:r>
          </a:p>
          <a:p>
            <a:pPr algn="r"/>
            <a:r>
              <a:rPr lang="en-GB" sz="1600" i="0" dirty="0">
                <a:solidFill>
                  <a:schemeClr val="bg1"/>
                </a:solidFill>
                <a:latin typeface="+mj-lt"/>
              </a:rPr>
              <a:t>For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993623144"/>
      </p:ext>
    </p:extLst>
  </p:cSld>
  <p:clrMapOvr>
    <a:masterClrMapping/>
  </p:clrMapOvr>
  <p:hf hdr="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1315992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42352438"/>
      </p:ext>
    </p:extLst>
  </p:cSld>
  <p:clrMapOvr>
    <a:masterClrMapping/>
  </p:clrMapOvr>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069492116"/>
      </p:ext>
    </p:extLst>
  </p:cSld>
  <p:clrMapOvr>
    <a:masterClrMapping/>
  </p:clrMapOvr>
  <p:hf hdr="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278965375"/>
      </p:ext>
    </p:extLst>
  </p:cSld>
  <p:clrMapOvr>
    <a:masterClrMapping/>
  </p:clrMapOvr>
  <p:hf hdr="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2878266137"/>
      </p:ext>
    </p:extLst>
  </p:cSld>
  <p:clrMapOvr>
    <a:masterClrMapping/>
  </p:clrMapOvr>
  <p:hf hdr="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282028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5653813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3282748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1974888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0572839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7612849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16933779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10483855"/>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427567141"/>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8189272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843176654"/>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61B1D526-9715-4C65-83EE-79727CD02D30}"/>
              </a:ext>
            </a:extLst>
          </p:cNvPr>
          <p:cNvSpPr/>
          <p:nvPr userDrawn="1"/>
        </p:nvSpPr>
        <p:spPr>
          <a:xfrm>
            <a:off x="5497830" y="0"/>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678311623"/>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1743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da-DK" sz="2000" i="0" noProof="0" dirty="0">
                <a:solidFill>
                  <a:schemeClr val="accent1"/>
                </a:solidFill>
                <a:latin typeface="+mj-lt"/>
              </a:rPr>
              <a:t>Vi forbinder Danmark.</a:t>
            </a:r>
          </a:p>
          <a:p>
            <a:pPr algn="r"/>
            <a:r>
              <a:rPr lang="da-DK" sz="2000" i="0" noProof="0" dirty="0">
                <a:solidFill>
                  <a:schemeClr val="accent1"/>
                </a:solidFill>
                <a:latin typeface="+mj-lt"/>
              </a:rPr>
              <a:t>Til gavn for alle</a:t>
            </a:r>
            <a:r>
              <a:rPr lang="en-GB" sz="2000" i="0" dirty="0">
                <a:solidFill>
                  <a:schemeClr val="accent1"/>
                </a:solidFill>
                <a:latin typeface="+mj-lt"/>
              </a:rPr>
              <a:t>.</a:t>
            </a: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dirty="0"/>
              <a:t>Click to add title</a:t>
            </a:r>
          </a:p>
        </p:txBody>
      </p:sp>
    </p:spTree>
    <p:extLst>
      <p:ext uri="{BB962C8B-B14F-4D97-AF65-F5344CB8AC3E}">
        <p14:creationId xmlns:p14="http://schemas.microsoft.com/office/powerpoint/2010/main" val="2135472215"/>
      </p:ext>
    </p:extLst>
  </p:cSld>
  <p:clrMapOvr>
    <a:masterClrMapping/>
  </p:clrMapOvr>
  <p:hf hdr="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412117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33801809"/>
      </p:ext>
    </p:extLst>
  </p:cSld>
  <p:clrMapOvr>
    <a:masterClrMapping/>
  </p:clrMapOvr>
  <p:hf hdr="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01003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2"/>
                </a:solidFill>
                <a:latin typeface="+mj-lt"/>
              </a:rPr>
              <a:t>We connect Denmark.</a:t>
            </a:r>
          </a:p>
          <a:p>
            <a:pPr algn="r"/>
            <a:r>
              <a:rPr lang="en-GB" sz="2000" i="0">
                <a:solidFill>
                  <a:schemeClr val="accent2"/>
                </a:solidFill>
                <a:latin typeface="+mj-lt"/>
              </a:rPr>
              <a:t>To benefit everyone.</a:t>
            </a:r>
            <a:endParaRPr lang="en-GB" sz="2000" i="0" dirty="0">
              <a:solidFill>
                <a:schemeClr val="accent2"/>
              </a:solidFill>
              <a:latin typeface="+mj-lt"/>
            </a:endParaRPr>
          </a:p>
        </p:txBody>
      </p:sp>
    </p:spTree>
    <p:extLst>
      <p:ext uri="{BB962C8B-B14F-4D97-AF65-F5344CB8AC3E}">
        <p14:creationId xmlns:p14="http://schemas.microsoft.com/office/powerpoint/2010/main" val="3523861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524066355"/>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bg1"/>
                </a:solidFill>
                <a:latin typeface="+mj-lt"/>
              </a:rPr>
              <a:t>We connect Denmark.</a:t>
            </a:r>
          </a:p>
          <a:p>
            <a:pPr algn="r"/>
            <a:r>
              <a:rPr lang="en-GB" sz="2000" i="0" dirty="0">
                <a:solidFill>
                  <a:schemeClr val="bg1"/>
                </a:solidFill>
                <a:latin typeface="+mj-lt"/>
              </a:rPr>
              <a:t>To benefit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3859807817"/>
      </p:ext>
    </p:extLst>
  </p:cSld>
  <p:clrMapOvr>
    <a:masterClrMapping/>
  </p:clrMapOvr>
  <p:hf hdr="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13314287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Two Content C">
    <p:spTree>
      <p:nvGrpSpPr>
        <p:cNvPr id="1" name=""/>
        <p:cNvGrpSpPr/>
        <p:nvPr/>
      </p:nvGrpSpPr>
      <p:grpSpPr>
        <a:xfrm>
          <a:off x="0" y="0"/>
          <a:ext cx="0" cy="0"/>
          <a:chOff x="0" y="0"/>
          <a:chExt cx="0" cy="0"/>
        </a:xfrm>
      </p:grpSpPr>
      <p:pic>
        <p:nvPicPr>
          <p:cNvPr id="5" name="Billede 4" descr="Et billede, der indeholder udendørs, strand, felt, mand&#10;&#10;Automatisk genereret beskrivelse">
            <a:extLst>
              <a:ext uri="{FF2B5EF4-FFF2-40B4-BE49-F238E27FC236}">
                <a16:creationId xmlns:a16="http://schemas.microsoft.com/office/drawing/2014/main" id="{5B0117A3-0626-2D43-9A00-0A71BD7CF6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8282" r="8362" b="16644"/>
          <a:stretch/>
        </p:blipFill>
        <p:spPr>
          <a:xfrm>
            <a:off x="0" y="0"/>
            <a:ext cx="6677576" cy="6858000"/>
          </a:xfrm>
          <a:prstGeom prst="rect">
            <a:avLst/>
          </a:prstGeom>
        </p:spPr>
      </p:pic>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11" name="Logo">
            <a:extLst>
              <a:ext uri="{FF2B5EF4-FFF2-40B4-BE49-F238E27FC236}">
                <a16:creationId xmlns:a16="http://schemas.microsoft.com/office/drawing/2014/main" id="{A2EC3281-5937-7846-BBB7-D194965E8D8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10" name="Content Placeholder 2">
            <a:extLst>
              <a:ext uri="{FF2B5EF4-FFF2-40B4-BE49-F238E27FC236}">
                <a16:creationId xmlns:a16="http://schemas.microsoft.com/office/drawing/2014/main" id="{3062EEB9-DA01-4B99-9774-25C8926F6F8F}"/>
              </a:ext>
            </a:extLst>
          </p:cNvPr>
          <p:cNvSpPr>
            <a:spLocks noGrp="1"/>
          </p:cNvSpPr>
          <p:nvPr>
            <p:ph idx="28"/>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1181753241"/>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extLst>
              <p:ext uri="{D42A27DB-BD31-4B8C-83A1-F6EECF244321}">
                <p14:modId xmlns:p14="http://schemas.microsoft.com/office/powerpoint/2010/main" val="2721990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196184C-066E-4F98-A782-4F8EE81C4B45}"/>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6000"/>
              </a:lnSpc>
              <a:spcBef>
                <a:spcPct val="0"/>
              </a:spcBef>
              <a:spcAft>
                <a:spcPct val="0"/>
              </a:spcAft>
            </a:pPr>
            <a:endParaRPr lang="en-US" sz="2700" b="0" i="0" baseline="0" dirty="0" err="1">
              <a:solidFill>
                <a:schemeClr val="bg1"/>
              </a:solidFill>
              <a:latin typeface="TDC" panose="020B0503060202020204" pitchFamily="34" charset="0"/>
              <a:ea typeface="+mj-ea"/>
              <a:cs typeface="+mj-cs"/>
              <a:sym typeface="TDC" panose="020B0503060202020204" pitchFamily="34" charset="0"/>
            </a:endParaRPr>
          </a:p>
        </p:txBody>
      </p:sp>
      <p:sp>
        <p:nvSpPr>
          <p:cNvPr id="2" name="2. Slide Title"/>
          <p:cNvSpPr>
            <a:spLocks noGrp="1"/>
          </p:cNvSpPr>
          <p:nvPr>
            <p:ph type="title"/>
          </p:nvPr>
        </p:nvSpPr>
        <p:spPr bwMode="auto">
          <a:xfrm>
            <a:off x="576000" y="415189"/>
            <a:ext cx="11082600" cy="398892"/>
          </a:xfrm>
        </p:spPr>
        <p:txBody>
          <a:bodyPr/>
          <a:lstStyle/>
          <a:p>
            <a:r>
              <a:rPr lang="en-US"/>
              <a:t>Click to edit Master title style</a:t>
            </a:r>
            <a:endParaRPr lang="en-US"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
        <p:nvSpPr>
          <p:cNvPr id="6" name="Text Placeholder 5">
            <a:extLst>
              <a:ext uri="{FF2B5EF4-FFF2-40B4-BE49-F238E27FC236}">
                <a16:creationId xmlns:a16="http://schemas.microsoft.com/office/drawing/2014/main" id="{EAAA3309-243F-44E4-A456-52CD25ABF6B0}"/>
              </a:ext>
            </a:extLst>
          </p:cNvPr>
          <p:cNvSpPr>
            <a:spLocks noGrp="1"/>
          </p:cNvSpPr>
          <p:nvPr>
            <p:ph type="body" sz="quarter" idx="10"/>
          </p:nvPr>
        </p:nvSpPr>
        <p:spPr>
          <a:xfrm>
            <a:off x="576263" y="1112838"/>
            <a:ext cx="5519737" cy="157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9" name="Text Placeholder 8">
            <a:extLst>
              <a:ext uri="{FF2B5EF4-FFF2-40B4-BE49-F238E27FC236}">
                <a16:creationId xmlns:a16="http://schemas.microsoft.com/office/drawing/2014/main" id="{A7D1A824-694D-4EF3-AC3C-573AA8179913}"/>
              </a:ext>
            </a:extLst>
          </p:cNvPr>
          <p:cNvSpPr>
            <a:spLocks noGrp="1"/>
          </p:cNvSpPr>
          <p:nvPr>
            <p:ph type="body" sz="quarter" idx="11" hasCustomPrompt="1"/>
          </p:nvPr>
        </p:nvSpPr>
        <p:spPr>
          <a:xfrm>
            <a:off x="571500" y="6334125"/>
            <a:ext cx="7339013" cy="115416"/>
          </a:xfrm>
        </p:spPr>
        <p:txBody>
          <a:bodyPr/>
          <a:lstStyle>
            <a:lvl1pPr marL="182880" indent="-182880">
              <a:buClr>
                <a:schemeClr val="accent6"/>
              </a:buClr>
              <a:buFont typeface="+mj-lt"/>
              <a:buAutoNum type="arabicParenR"/>
              <a:defRPr sz="750">
                <a:solidFill>
                  <a:schemeClr val="accent6"/>
                </a:solidFill>
              </a:defRPr>
            </a:lvl1pPr>
            <a:lvl2pPr>
              <a:defRPr sz="800"/>
            </a:lvl2pPr>
            <a:lvl3pPr>
              <a:defRPr sz="800"/>
            </a:lvl3pPr>
            <a:lvl4pPr>
              <a:defRPr sz="800"/>
            </a:lvl4pPr>
            <a:lvl5pPr>
              <a:defRPr sz="800"/>
            </a:lvl5pPr>
          </a:lstStyle>
          <a:p>
            <a:pPr lvl="0"/>
            <a:r>
              <a:rPr lang="en-US" dirty="0"/>
              <a:t>References / footnotes</a:t>
            </a:r>
          </a:p>
        </p:txBody>
      </p:sp>
      <p:sp>
        <p:nvSpPr>
          <p:cNvPr id="33" name="Text Placeholder 32">
            <a:extLst>
              <a:ext uri="{FF2B5EF4-FFF2-40B4-BE49-F238E27FC236}">
                <a16:creationId xmlns:a16="http://schemas.microsoft.com/office/drawing/2014/main" id="{F31F656F-1BAD-4977-81F5-9B00062123BE}"/>
              </a:ext>
            </a:extLst>
          </p:cNvPr>
          <p:cNvSpPr>
            <a:spLocks noGrp="1"/>
          </p:cNvSpPr>
          <p:nvPr>
            <p:ph type="body" sz="quarter" idx="12" hasCustomPrompt="1"/>
          </p:nvPr>
        </p:nvSpPr>
        <p:spPr>
          <a:xfrm>
            <a:off x="576263" y="130403"/>
            <a:ext cx="1846262" cy="143918"/>
          </a:xfrm>
        </p:spPr>
        <p:txBody>
          <a:bodyPr/>
          <a:lstStyle>
            <a:lvl1pPr>
              <a:defRPr sz="800">
                <a:solidFill>
                  <a:schemeClr val="accent6"/>
                </a:solidFill>
              </a:defRPr>
            </a:lvl1pPr>
          </a:lstStyle>
          <a:p>
            <a:pPr lvl="0"/>
            <a:r>
              <a:rPr lang="da-DK" dirty="0"/>
              <a:t>TITLE THEME</a:t>
            </a:r>
          </a:p>
          <a:p>
            <a:pPr lvl="0"/>
            <a:endParaRPr lang="da-DK" dirty="0"/>
          </a:p>
        </p:txBody>
      </p:sp>
    </p:spTree>
    <p:extLst>
      <p:ext uri="{BB962C8B-B14F-4D97-AF65-F5344CB8AC3E}">
        <p14:creationId xmlns:p14="http://schemas.microsoft.com/office/powerpoint/2010/main" val="3684705154"/>
      </p:ext>
    </p:extLst>
  </p:cSld>
  <p:clrMapOvr>
    <a:masterClrMapping/>
  </p:clrMapOvr>
  <p:extLst>
    <p:ext uri="{DCECCB84-F9BA-43D5-87BE-67443E8EF086}">
      <p15:sldGuideLst xmlns:p15="http://schemas.microsoft.com/office/powerpoint/2012/main">
        <p15:guide id="3" orient="horz" pos="583">
          <p15:clr>
            <a:srgbClr val="F26B43"/>
          </p15:clr>
        </p15:guide>
        <p15:guide id="4" orient="horz" pos="3990">
          <p15:clr>
            <a:srgbClr val="F26B43"/>
          </p15:clr>
        </p15:guide>
        <p15:guide id="5" pos="3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extLst>
              <p:ext uri="{D42A27DB-BD31-4B8C-83A1-F6EECF244321}">
                <p14:modId xmlns:p14="http://schemas.microsoft.com/office/powerpoint/2010/main" val="37394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65456706-CDB5-4764-9159-1E19CD9FE65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a:latin typeface="TDC NET" panose="020B0604020202020204" charset="0"/>
              <a:ea typeface="+mj-ea"/>
              <a:cs typeface="+mj-cs"/>
              <a:sym typeface="TDC NET" panose="020B0604020202020204" charset="0"/>
            </a:endParaRPr>
          </a:p>
        </p:txBody>
      </p:sp>
      <p:sp>
        <p:nvSpPr>
          <p:cNvPr id="2" name="2. Slide Title"/>
          <p:cNvSpPr>
            <a:spLocks noGrp="1"/>
          </p:cNvSpPr>
          <p:nvPr>
            <p:ph type="title" hasCustomPrompt="1"/>
          </p:nvPr>
        </p:nvSpPr>
        <p:spPr bwMode="auto"/>
        <p:txBody>
          <a:bodyPr/>
          <a:lstStyle/>
          <a:p>
            <a:r>
              <a:rPr lang="en-US" dirty="0"/>
              <a:t>Click to edit Master title style</a:t>
            </a:r>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18650855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3648194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Vi </a:t>
            </a:r>
            <a:r>
              <a:rPr lang="en-GB" sz="1600" i="0" dirty="0" err="1">
                <a:solidFill>
                  <a:schemeClr val="bg1"/>
                </a:solidFill>
                <a:latin typeface="+mj-lt"/>
              </a:rPr>
              <a:t>forbinder</a:t>
            </a:r>
            <a:r>
              <a:rPr lang="en-GB" sz="1600" i="0" dirty="0">
                <a:solidFill>
                  <a:schemeClr val="bg1"/>
                </a:solidFill>
                <a:latin typeface="+mj-lt"/>
              </a:rPr>
              <a:t> </a:t>
            </a:r>
            <a:r>
              <a:rPr lang="en-GB" sz="1600" i="0" dirty="0" err="1">
                <a:solidFill>
                  <a:schemeClr val="bg1"/>
                </a:solidFill>
                <a:latin typeface="+mj-lt"/>
              </a:rPr>
              <a:t>Danmark</a:t>
            </a:r>
            <a:r>
              <a:rPr lang="en-GB" sz="1600" i="0" dirty="0">
                <a:solidFill>
                  <a:schemeClr val="bg1"/>
                </a:solidFill>
                <a:latin typeface="+mj-lt"/>
              </a:rPr>
              <a:t>.</a:t>
            </a:r>
          </a:p>
          <a:p>
            <a:pPr algn="r"/>
            <a:r>
              <a:rPr lang="en-GB" sz="1600" i="0" dirty="0" err="1">
                <a:solidFill>
                  <a:schemeClr val="bg1"/>
                </a:solidFill>
                <a:latin typeface="+mj-lt"/>
              </a:rPr>
              <a:t>Til</a:t>
            </a:r>
            <a:r>
              <a:rPr lang="en-GB" sz="1600" i="0" dirty="0">
                <a:solidFill>
                  <a:schemeClr val="bg1"/>
                </a:solidFill>
                <a:latin typeface="+mj-lt"/>
              </a:rPr>
              <a:t> </a:t>
            </a:r>
            <a:r>
              <a:rPr lang="en-GB" sz="1600" i="0" dirty="0" err="1">
                <a:solidFill>
                  <a:schemeClr val="bg1"/>
                </a:solidFill>
                <a:latin typeface="+mj-lt"/>
              </a:rPr>
              <a:t>gavn</a:t>
            </a:r>
            <a:r>
              <a:rPr lang="en-GB" sz="1600" i="0" dirty="0">
                <a:solidFill>
                  <a:schemeClr val="bg1"/>
                </a:solidFill>
                <a:latin typeface="+mj-lt"/>
              </a:rPr>
              <a:t> for </a:t>
            </a:r>
            <a:r>
              <a:rPr lang="en-GB" sz="1600" i="0" dirty="0" err="1">
                <a:solidFill>
                  <a:schemeClr val="bg1"/>
                </a:solidFill>
                <a:latin typeface="+mj-lt"/>
              </a:rPr>
              <a:t>alle</a:t>
            </a:r>
            <a:r>
              <a:rPr lang="en-GB" sz="1600" i="0" dirty="0">
                <a:solidFill>
                  <a:schemeClr val="bg1"/>
                </a:solidFill>
                <a:latin typeface="+mj-lt"/>
              </a:rPr>
              <a:t>.</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250454527"/>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662618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 y="0"/>
            <a:ext cx="12192001" cy="6858000"/>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4007"/>
          <a:stretch/>
        </p:blipFill>
        <p:spPr>
          <a:xfrm>
            <a:off x="0" y="0"/>
            <a:ext cx="1020627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dirty="0"/>
              <a:t>Document type | Date</a:t>
            </a:r>
          </a:p>
        </p:txBody>
      </p:sp>
      <p:sp>
        <p:nvSpPr>
          <p:cNvPr id="11" name="TextBox 23">
            <a:extLst>
              <a:ext uri="{FF2B5EF4-FFF2-40B4-BE49-F238E27FC236}">
                <a16:creationId xmlns:a16="http://schemas.microsoft.com/office/drawing/2014/main" id="{65BA6348-6AC5-3242-804B-3FF8E062C7ED}"/>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da-DK" sz="1600" i="0" noProof="0" dirty="0">
                <a:solidFill>
                  <a:schemeClr val="bg1"/>
                </a:solidFill>
                <a:latin typeface="+mj-lt"/>
              </a:rPr>
              <a:t>Vi forbinder Danmark.</a:t>
            </a:r>
          </a:p>
          <a:p>
            <a:pPr algn="r"/>
            <a:r>
              <a:rPr lang="da-DK" sz="1600" i="0" noProof="0" dirty="0">
                <a:solidFill>
                  <a:schemeClr val="bg1"/>
                </a:solidFill>
                <a:latin typeface="+mj-lt"/>
              </a:rPr>
              <a:t>Til gavn for alle</a:t>
            </a:r>
            <a:r>
              <a:rPr lang="en-GB" sz="1600" i="0" dirty="0">
                <a:solidFill>
                  <a:schemeClr val="bg1"/>
                </a:solidFill>
                <a:latin typeface="+mj-lt"/>
              </a:rPr>
              <a:t>.</a:t>
            </a:r>
          </a:p>
        </p:txBody>
      </p:sp>
      <p:pic>
        <p:nvPicPr>
          <p:cNvPr id="16" name="Picture 24">
            <a:extLst>
              <a:ext uri="{FF2B5EF4-FFF2-40B4-BE49-F238E27FC236}">
                <a16:creationId xmlns:a16="http://schemas.microsoft.com/office/drawing/2014/main" id="{E3C48CA5-FF35-9E41-A3B2-A5B70C41E088}"/>
              </a:ext>
            </a:extLst>
          </p:cNvPr>
          <p:cNvPicPr>
            <a:picLocks/>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344651761"/>
      </p:ext>
    </p:extLst>
  </p:cSld>
  <p:clrMapOvr>
    <a:masterClrMapping/>
  </p:clrMapOvr>
  <p:hf hdr="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27554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a:latin typeface="TDC NET" panose="00000500000000000000" pitchFamily="2" charset="0"/>
              <a:ea typeface="+mj-ea"/>
              <a:cs typeface="+mj-cs"/>
              <a:sym typeface="TDC NET" panose="00000500000000000000" pitchFamily="2" charset="0"/>
            </a:endParaRPr>
          </a:p>
        </p:txBody>
      </p:sp>
      <p:pic>
        <p:nvPicPr>
          <p:cNvPr id="16" name="Billede 15">
            <a:extLst>
              <a:ext uri="{FF2B5EF4-FFF2-40B4-BE49-F238E27FC236}">
                <a16:creationId xmlns:a16="http://schemas.microsoft.com/office/drawing/2014/main" id="{6374BF9D-9B70-4C4B-A145-898DBBFE794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32372" t="9162" r="-16391" b="3263"/>
          <a:stretch/>
        </p:blipFill>
        <p:spPr>
          <a:xfrm rot="10800000" flipH="1">
            <a:off x="0" y="0"/>
            <a:ext cx="12066186" cy="68579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
        <p:nvSpPr>
          <p:cNvPr id="18" name="TextBox 23">
            <a:extLst>
              <a:ext uri="{FF2B5EF4-FFF2-40B4-BE49-F238E27FC236}">
                <a16:creationId xmlns:a16="http://schemas.microsoft.com/office/drawing/2014/main" id="{EFD363CB-9C58-754C-90BC-C5238FB98C75}"/>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Vi </a:t>
            </a:r>
            <a:r>
              <a:rPr lang="en-GB" sz="1600" i="0" dirty="0" err="1">
                <a:solidFill>
                  <a:schemeClr val="bg1"/>
                </a:solidFill>
                <a:latin typeface="+mj-lt"/>
              </a:rPr>
              <a:t>forbinder</a:t>
            </a:r>
            <a:r>
              <a:rPr lang="en-GB" sz="1600" i="0" dirty="0">
                <a:solidFill>
                  <a:schemeClr val="bg1"/>
                </a:solidFill>
                <a:latin typeface="+mj-lt"/>
              </a:rPr>
              <a:t> </a:t>
            </a:r>
            <a:r>
              <a:rPr lang="en-GB" sz="1600" i="0" dirty="0" err="1">
                <a:solidFill>
                  <a:schemeClr val="bg1"/>
                </a:solidFill>
                <a:latin typeface="+mj-lt"/>
              </a:rPr>
              <a:t>Danmark</a:t>
            </a:r>
            <a:r>
              <a:rPr lang="en-GB" sz="1600" i="0" dirty="0">
                <a:solidFill>
                  <a:schemeClr val="bg1"/>
                </a:solidFill>
                <a:latin typeface="+mj-lt"/>
              </a:rPr>
              <a:t>.</a:t>
            </a:r>
          </a:p>
          <a:p>
            <a:pPr algn="r"/>
            <a:r>
              <a:rPr lang="en-GB" sz="1600" i="0" dirty="0" err="1">
                <a:solidFill>
                  <a:schemeClr val="bg1"/>
                </a:solidFill>
                <a:latin typeface="+mj-lt"/>
              </a:rPr>
              <a:t>Til</a:t>
            </a:r>
            <a:r>
              <a:rPr lang="en-GB" sz="1600" i="0" dirty="0">
                <a:solidFill>
                  <a:schemeClr val="bg1"/>
                </a:solidFill>
                <a:latin typeface="+mj-lt"/>
              </a:rPr>
              <a:t> </a:t>
            </a:r>
            <a:r>
              <a:rPr lang="en-GB" sz="1600" i="0" dirty="0" err="1">
                <a:solidFill>
                  <a:schemeClr val="bg1"/>
                </a:solidFill>
                <a:latin typeface="+mj-lt"/>
              </a:rPr>
              <a:t>gavn</a:t>
            </a:r>
            <a:r>
              <a:rPr lang="en-GB" sz="1600" i="0" dirty="0">
                <a:solidFill>
                  <a:schemeClr val="bg1"/>
                </a:solidFill>
                <a:latin typeface="+mj-lt"/>
              </a:rPr>
              <a:t> for </a:t>
            </a:r>
            <a:r>
              <a:rPr lang="en-GB" sz="1600" i="0" dirty="0" err="1">
                <a:solidFill>
                  <a:schemeClr val="bg1"/>
                </a:solidFill>
                <a:latin typeface="+mj-lt"/>
              </a:rPr>
              <a:t>alle</a:t>
            </a:r>
            <a:r>
              <a:rPr lang="en-GB" sz="1600" i="0" dirty="0">
                <a:solidFill>
                  <a:schemeClr val="bg1"/>
                </a:solidFill>
                <a:latin typeface="+mj-lt"/>
              </a:rPr>
              <a:t>.</a:t>
            </a:r>
          </a:p>
        </p:txBody>
      </p:sp>
      <p:pic>
        <p:nvPicPr>
          <p:cNvPr id="26" name="Picture 24">
            <a:extLst>
              <a:ext uri="{FF2B5EF4-FFF2-40B4-BE49-F238E27FC236}">
                <a16:creationId xmlns:a16="http://schemas.microsoft.com/office/drawing/2014/main" id="{C789F933-AA2A-6D42-A571-0AE472EBB0CE}"/>
              </a:ext>
            </a:extLst>
          </p:cNvPr>
          <p:cNvPicPr>
            <a:picLocks/>
          </p:cNvPicPr>
          <p:nvPr userDrawn="1"/>
        </p:nvPicPr>
        <p:blipFill>
          <a:blip r:embed="rId10" cstate="screen">
            <a:biLevel thresh="25000"/>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722944723"/>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225457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a:latin typeface="TDC NET" panose="00000500000000000000" pitchFamily="2" charset="0"/>
              <a:ea typeface="+mj-ea"/>
              <a:cs typeface="+mj-cs"/>
              <a:sym typeface="TDC NET" panose="00000500000000000000" pitchFamily="2" charset="0"/>
            </a:endParaRPr>
          </a:p>
        </p:txBody>
      </p:sp>
      <p:pic>
        <p:nvPicPr>
          <p:cNvPr id="16" name="Billede 15" descr="Et billede, der indeholder udendørs, person, mand, opbevarer&#10;&#10;Automatisk genereret beskrivelse">
            <a:extLst>
              <a:ext uri="{FF2B5EF4-FFF2-40B4-BE49-F238E27FC236}">
                <a16:creationId xmlns:a16="http://schemas.microsoft.com/office/drawing/2014/main" id="{6374BF9D-9B70-4C4B-A145-898DBBFE794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44438" r="39828"/>
          <a:stretch/>
        </p:blipFill>
        <p:spPr>
          <a:xfrm>
            <a:off x="1" y="-1"/>
            <a:ext cx="12191999" cy="6858001"/>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17833" r="32457"/>
          <a:stretch/>
        </p:blipFill>
        <p:spPr>
          <a:xfrm rot="16200000" flipH="1">
            <a:off x="332458" y="-332458"/>
            <a:ext cx="6858001" cy="7522915"/>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
        <p:nvSpPr>
          <p:cNvPr id="15" name="TextBox 23">
            <a:extLst>
              <a:ext uri="{FF2B5EF4-FFF2-40B4-BE49-F238E27FC236}">
                <a16:creationId xmlns:a16="http://schemas.microsoft.com/office/drawing/2014/main" id="{92ED42E5-C2AA-D146-BED2-683E59F758E8}"/>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Vi </a:t>
            </a:r>
            <a:r>
              <a:rPr lang="en-GB" sz="1600" i="0" dirty="0" err="1">
                <a:solidFill>
                  <a:schemeClr val="bg1"/>
                </a:solidFill>
                <a:latin typeface="+mj-lt"/>
              </a:rPr>
              <a:t>forbinder</a:t>
            </a:r>
            <a:r>
              <a:rPr lang="en-GB" sz="1600" i="0" dirty="0">
                <a:solidFill>
                  <a:schemeClr val="bg1"/>
                </a:solidFill>
                <a:latin typeface="+mj-lt"/>
              </a:rPr>
              <a:t> </a:t>
            </a:r>
            <a:r>
              <a:rPr lang="en-GB" sz="1600" i="0" dirty="0" err="1">
                <a:solidFill>
                  <a:schemeClr val="bg1"/>
                </a:solidFill>
                <a:latin typeface="+mj-lt"/>
              </a:rPr>
              <a:t>Danmark</a:t>
            </a:r>
            <a:r>
              <a:rPr lang="en-GB" sz="1600" i="0" dirty="0">
                <a:solidFill>
                  <a:schemeClr val="bg1"/>
                </a:solidFill>
                <a:latin typeface="+mj-lt"/>
              </a:rPr>
              <a:t>.</a:t>
            </a:r>
          </a:p>
          <a:p>
            <a:pPr algn="r"/>
            <a:r>
              <a:rPr lang="en-GB" sz="1600" i="0" dirty="0" err="1">
                <a:solidFill>
                  <a:schemeClr val="bg1"/>
                </a:solidFill>
                <a:latin typeface="+mj-lt"/>
              </a:rPr>
              <a:t>Til</a:t>
            </a:r>
            <a:r>
              <a:rPr lang="en-GB" sz="1600" i="0" dirty="0">
                <a:solidFill>
                  <a:schemeClr val="bg1"/>
                </a:solidFill>
                <a:latin typeface="+mj-lt"/>
              </a:rPr>
              <a:t> </a:t>
            </a:r>
            <a:r>
              <a:rPr lang="en-GB" sz="1600" i="0" dirty="0" err="1">
                <a:solidFill>
                  <a:schemeClr val="bg1"/>
                </a:solidFill>
                <a:latin typeface="+mj-lt"/>
              </a:rPr>
              <a:t>gavn</a:t>
            </a:r>
            <a:r>
              <a:rPr lang="en-GB" sz="1600" i="0" dirty="0">
                <a:solidFill>
                  <a:schemeClr val="bg1"/>
                </a:solidFill>
                <a:latin typeface="+mj-lt"/>
              </a:rPr>
              <a:t> for </a:t>
            </a:r>
            <a:r>
              <a:rPr lang="en-GB" sz="1600" i="0" dirty="0" err="1">
                <a:solidFill>
                  <a:schemeClr val="bg1"/>
                </a:solidFill>
                <a:latin typeface="+mj-lt"/>
              </a:rPr>
              <a:t>alle</a:t>
            </a:r>
            <a:r>
              <a:rPr lang="en-GB" sz="1600" i="0" dirty="0">
                <a:solidFill>
                  <a:schemeClr val="bg1"/>
                </a:solidFill>
                <a:latin typeface="+mj-lt"/>
              </a:rPr>
              <a:t>.</a:t>
            </a:r>
          </a:p>
        </p:txBody>
      </p:sp>
      <p:pic>
        <p:nvPicPr>
          <p:cNvPr id="19" name="Picture 24">
            <a:extLst>
              <a:ext uri="{FF2B5EF4-FFF2-40B4-BE49-F238E27FC236}">
                <a16:creationId xmlns:a16="http://schemas.microsoft.com/office/drawing/2014/main" id="{33449305-4379-0A4F-983B-6684FFFA388B}"/>
              </a:ext>
            </a:extLst>
          </p:cNvPr>
          <p:cNvPicPr>
            <a:picLocks/>
          </p:cNvPicPr>
          <p:nvPr userDrawn="1"/>
        </p:nvPicPr>
        <p:blipFill>
          <a:blip r:embed="rId10" cstate="screen">
            <a:biLevel thresh="25000"/>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956449771"/>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177535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a:latin typeface="TDC NET" panose="00000500000000000000" pitchFamily="2" charset="0"/>
              <a:ea typeface="+mj-ea"/>
              <a:cs typeface="+mj-cs"/>
              <a:sym typeface="TDC NET" panose="00000500000000000000" pitchFamily="2" charset="0"/>
            </a:endParaRPr>
          </a:p>
        </p:txBody>
      </p:sp>
      <p:pic>
        <p:nvPicPr>
          <p:cNvPr id="16" name="Billede 15">
            <a:extLst>
              <a:ext uri="{FF2B5EF4-FFF2-40B4-BE49-F238E27FC236}">
                <a16:creationId xmlns:a16="http://schemas.microsoft.com/office/drawing/2014/main" id="{6374BF9D-9B70-4C4B-A145-898DBBFE794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sp>
        <p:nvSpPr>
          <p:cNvPr id="11" name="TextBox 23">
            <a:extLst>
              <a:ext uri="{FF2B5EF4-FFF2-40B4-BE49-F238E27FC236}">
                <a16:creationId xmlns:a16="http://schemas.microsoft.com/office/drawing/2014/main" id="{75E7DBA5-56C1-004B-8B9E-23F4FE7E5B68}"/>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Vi </a:t>
            </a:r>
            <a:r>
              <a:rPr lang="en-GB" sz="1600" i="0" dirty="0" err="1">
                <a:solidFill>
                  <a:schemeClr val="bg1"/>
                </a:solidFill>
                <a:latin typeface="+mj-lt"/>
              </a:rPr>
              <a:t>forbinder</a:t>
            </a:r>
            <a:r>
              <a:rPr lang="en-GB" sz="1600" i="0" dirty="0">
                <a:solidFill>
                  <a:schemeClr val="bg1"/>
                </a:solidFill>
                <a:latin typeface="+mj-lt"/>
              </a:rPr>
              <a:t> </a:t>
            </a:r>
            <a:r>
              <a:rPr lang="en-GB" sz="1600" i="0" dirty="0" err="1">
                <a:solidFill>
                  <a:schemeClr val="bg1"/>
                </a:solidFill>
                <a:latin typeface="+mj-lt"/>
              </a:rPr>
              <a:t>Danmark</a:t>
            </a:r>
            <a:r>
              <a:rPr lang="en-GB" sz="1600" i="0" dirty="0">
                <a:solidFill>
                  <a:schemeClr val="bg1"/>
                </a:solidFill>
                <a:latin typeface="+mj-lt"/>
              </a:rPr>
              <a:t>.</a:t>
            </a:r>
          </a:p>
          <a:p>
            <a:pPr algn="r"/>
            <a:r>
              <a:rPr lang="en-GB" sz="1600" i="0" dirty="0" err="1">
                <a:solidFill>
                  <a:schemeClr val="bg1"/>
                </a:solidFill>
                <a:latin typeface="+mj-lt"/>
              </a:rPr>
              <a:t>Til</a:t>
            </a:r>
            <a:r>
              <a:rPr lang="en-GB" sz="1600" i="0" dirty="0">
                <a:solidFill>
                  <a:schemeClr val="bg1"/>
                </a:solidFill>
                <a:latin typeface="+mj-lt"/>
              </a:rPr>
              <a:t> </a:t>
            </a:r>
            <a:r>
              <a:rPr lang="en-GB" sz="1600" i="0" dirty="0" err="1">
                <a:solidFill>
                  <a:schemeClr val="bg1"/>
                </a:solidFill>
                <a:latin typeface="+mj-lt"/>
              </a:rPr>
              <a:t>gavn</a:t>
            </a:r>
            <a:r>
              <a:rPr lang="en-GB" sz="1600" i="0" dirty="0">
                <a:solidFill>
                  <a:schemeClr val="bg1"/>
                </a:solidFill>
                <a:latin typeface="+mj-lt"/>
              </a:rPr>
              <a:t> for </a:t>
            </a:r>
            <a:r>
              <a:rPr lang="en-GB" sz="1600" i="0" dirty="0" err="1">
                <a:solidFill>
                  <a:schemeClr val="bg1"/>
                </a:solidFill>
                <a:latin typeface="+mj-lt"/>
              </a:rPr>
              <a:t>alle</a:t>
            </a:r>
            <a:r>
              <a:rPr lang="en-GB" sz="1600" i="0" dirty="0">
                <a:solidFill>
                  <a:schemeClr val="bg1"/>
                </a:solidFill>
                <a:latin typeface="+mj-lt"/>
              </a:rPr>
              <a:t>.</a:t>
            </a:r>
          </a:p>
        </p:txBody>
      </p:sp>
      <p:pic>
        <p:nvPicPr>
          <p:cNvPr id="14" name="Picture 24">
            <a:extLst>
              <a:ext uri="{FF2B5EF4-FFF2-40B4-BE49-F238E27FC236}">
                <a16:creationId xmlns:a16="http://schemas.microsoft.com/office/drawing/2014/main" id="{400AE4B9-3FA2-F047-8DE6-1370FF0FE947}"/>
              </a:ext>
            </a:extLst>
          </p:cNvPr>
          <p:cNvPicPr>
            <a:picLocks/>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16387700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61B1D526-9715-4C65-83EE-79727CD02D30}"/>
              </a:ext>
            </a:extLst>
          </p:cNvPr>
          <p:cNvSpPr/>
          <p:nvPr userDrawn="1"/>
        </p:nvSpPr>
        <p:spPr>
          <a:xfrm>
            <a:off x="5497830" y="0"/>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1766552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88798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a:latin typeface="TDC NET" panose="00000500000000000000" pitchFamily="2" charset="0"/>
              <a:ea typeface="+mj-ea"/>
              <a:cs typeface="+mj-cs"/>
              <a:sym typeface="TDC NET" panose="00000500000000000000" pitchFamily="2" charset="0"/>
            </a:endParaRPr>
          </a:p>
        </p:txBody>
      </p:sp>
      <p:pic>
        <p:nvPicPr>
          <p:cNvPr id="16" name="Billede 15">
            <a:extLst>
              <a:ext uri="{FF2B5EF4-FFF2-40B4-BE49-F238E27FC236}">
                <a16:creationId xmlns:a16="http://schemas.microsoft.com/office/drawing/2014/main" id="{6374BF9D-9B70-4C4B-A145-898DBBFE794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13554" b="7877"/>
          <a:stretch/>
        </p:blipFill>
        <p:spPr>
          <a:xfrm>
            <a:off x="2531793" y="-1"/>
            <a:ext cx="9660207" cy="6858001"/>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51280" r="9276"/>
          <a:stretch/>
        </p:blipFill>
        <p:spPr>
          <a:xfrm rot="16200000">
            <a:off x="1311442" y="-1311442"/>
            <a:ext cx="6858000" cy="9480884"/>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sp>
        <p:nvSpPr>
          <p:cNvPr id="11" name="TextBox 23">
            <a:extLst>
              <a:ext uri="{FF2B5EF4-FFF2-40B4-BE49-F238E27FC236}">
                <a16:creationId xmlns:a16="http://schemas.microsoft.com/office/drawing/2014/main" id="{DBCA37E5-968B-F840-AD72-1263534ACD42}"/>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Vi </a:t>
            </a:r>
            <a:r>
              <a:rPr lang="en-GB" sz="1600" i="0" dirty="0" err="1">
                <a:solidFill>
                  <a:schemeClr val="bg1"/>
                </a:solidFill>
                <a:latin typeface="+mj-lt"/>
              </a:rPr>
              <a:t>forbinder</a:t>
            </a:r>
            <a:r>
              <a:rPr lang="en-GB" sz="1600" i="0" dirty="0">
                <a:solidFill>
                  <a:schemeClr val="bg1"/>
                </a:solidFill>
                <a:latin typeface="+mj-lt"/>
              </a:rPr>
              <a:t> </a:t>
            </a:r>
            <a:r>
              <a:rPr lang="en-GB" sz="1600" i="0" dirty="0" err="1">
                <a:solidFill>
                  <a:schemeClr val="bg1"/>
                </a:solidFill>
                <a:latin typeface="+mj-lt"/>
              </a:rPr>
              <a:t>Danmark</a:t>
            </a:r>
            <a:r>
              <a:rPr lang="en-GB" sz="1600" i="0" dirty="0">
                <a:solidFill>
                  <a:schemeClr val="bg1"/>
                </a:solidFill>
                <a:latin typeface="+mj-lt"/>
              </a:rPr>
              <a:t>.</a:t>
            </a:r>
          </a:p>
          <a:p>
            <a:pPr algn="r"/>
            <a:r>
              <a:rPr lang="en-GB" sz="1600" i="0" dirty="0" err="1">
                <a:solidFill>
                  <a:schemeClr val="bg1"/>
                </a:solidFill>
                <a:latin typeface="+mj-lt"/>
              </a:rPr>
              <a:t>Til</a:t>
            </a:r>
            <a:r>
              <a:rPr lang="en-GB" sz="1600" i="0" dirty="0">
                <a:solidFill>
                  <a:schemeClr val="bg1"/>
                </a:solidFill>
                <a:latin typeface="+mj-lt"/>
              </a:rPr>
              <a:t> </a:t>
            </a:r>
            <a:r>
              <a:rPr lang="en-GB" sz="1600" i="0" dirty="0" err="1">
                <a:solidFill>
                  <a:schemeClr val="bg1"/>
                </a:solidFill>
                <a:latin typeface="+mj-lt"/>
              </a:rPr>
              <a:t>gavn</a:t>
            </a:r>
            <a:r>
              <a:rPr lang="en-GB" sz="1600" i="0" dirty="0">
                <a:solidFill>
                  <a:schemeClr val="bg1"/>
                </a:solidFill>
                <a:latin typeface="+mj-lt"/>
              </a:rPr>
              <a:t> for </a:t>
            </a:r>
            <a:r>
              <a:rPr lang="en-GB" sz="1600" i="0" dirty="0" err="1">
                <a:solidFill>
                  <a:schemeClr val="bg1"/>
                </a:solidFill>
                <a:latin typeface="+mj-lt"/>
              </a:rPr>
              <a:t>alle</a:t>
            </a:r>
            <a:r>
              <a:rPr lang="en-GB" sz="1600" i="0" dirty="0">
                <a:solidFill>
                  <a:schemeClr val="bg1"/>
                </a:solidFill>
                <a:latin typeface="+mj-lt"/>
              </a:rPr>
              <a:t>.</a:t>
            </a:r>
          </a:p>
        </p:txBody>
      </p:sp>
      <p:pic>
        <p:nvPicPr>
          <p:cNvPr id="14" name="Picture 24">
            <a:extLst>
              <a:ext uri="{FF2B5EF4-FFF2-40B4-BE49-F238E27FC236}">
                <a16:creationId xmlns:a16="http://schemas.microsoft.com/office/drawing/2014/main" id="{804CD1D3-8727-284D-8A2E-115B314BFCAC}"/>
              </a:ext>
            </a:extLst>
          </p:cNvPr>
          <p:cNvPicPr>
            <a:picLocks/>
          </p:cNvPicPr>
          <p:nvPr userDrawn="1"/>
        </p:nvPicPr>
        <p:blipFill>
          <a:blip r:embed="rId8" cstate="screen">
            <a:biLevel thresh="25000"/>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104303838"/>
      </p:ext>
    </p:extLst>
  </p:cSld>
  <p:clrMapOvr>
    <a:masterClrMapping/>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
        <p:nvSpPr>
          <p:cNvPr id="15" name="TextBox 23">
            <a:extLst>
              <a:ext uri="{FF2B5EF4-FFF2-40B4-BE49-F238E27FC236}">
                <a16:creationId xmlns:a16="http://schemas.microsoft.com/office/drawing/2014/main" id="{36B582B1-3A26-A84F-84F9-0AE56A0A555D}"/>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accent1"/>
                </a:solidFill>
                <a:latin typeface="+mj-lt"/>
              </a:rPr>
              <a:t>We connect Denmark.</a:t>
            </a:r>
          </a:p>
          <a:p>
            <a:pPr algn="r"/>
            <a:r>
              <a:rPr lang="en-GB" sz="1600" i="0" dirty="0">
                <a:solidFill>
                  <a:schemeClr val="accent1"/>
                </a:solidFill>
                <a:latin typeface="+mj-lt"/>
              </a:rPr>
              <a:t>For everyone.</a:t>
            </a:r>
          </a:p>
        </p:txBody>
      </p:sp>
    </p:spTree>
    <p:extLst>
      <p:ext uri="{BB962C8B-B14F-4D97-AF65-F5344CB8AC3E}">
        <p14:creationId xmlns:p14="http://schemas.microsoft.com/office/powerpoint/2010/main" val="1557148481"/>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sp>
        <p:nvSpPr>
          <p:cNvPr id="12" name="TextBox 23">
            <a:extLst>
              <a:ext uri="{FF2B5EF4-FFF2-40B4-BE49-F238E27FC236}">
                <a16:creationId xmlns:a16="http://schemas.microsoft.com/office/drawing/2014/main" id="{70ED8282-083C-064B-B300-CF8784D82FB1}"/>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We connect Denmark.</a:t>
            </a:r>
          </a:p>
          <a:p>
            <a:pPr algn="r"/>
            <a:r>
              <a:rPr lang="en-GB" sz="1600" i="0" dirty="0">
                <a:solidFill>
                  <a:schemeClr val="bg1"/>
                </a:solidFill>
                <a:latin typeface="+mj-lt"/>
              </a:rPr>
              <a:t>For everyone.</a:t>
            </a:r>
          </a:p>
        </p:txBody>
      </p:sp>
    </p:spTree>
    <p:extLst>
      <p:ext uri="{BB962C8B-B14F-4D97-AF65-F5344CB8AC3E}">
        <p14:creationId xmlns:p14="http://schemas.microsoft.com/office/powerpoint/2010/main" val="2711877436"/>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3884600993"/>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16179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6316663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304034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7250977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93973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7787683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74966735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wo Content A">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EA341E8C-EAA0-5547-9813-D24371A862E3}"/>
              </a:ext>
            </a:extLst>
          </p:cNvPr>
          <p:cNvSpPr/>
          <p:nvPr userDrawn="1"/>
        </p:nvSpPr>
        <p:spPr>
          <a:xfrm>
            <a:off x="0" y="0"/>
            <a:ext cx="6725920" cy="6228080"/>
          </a:xfrm>
          <a:custGeom>
            <a:avLst/>
            <a:gdLst/>
            <a:ahLst/>
            <a:cxnLst/>
            <a:rect l="l" t="t" r="r" b="b"/>
            <a:pathLst>
              <a:path w="6725920" h="6228080">
                <a:moveTo>
                  <a:pt x="6725898" y="0"/>
                </a:moveTo>
                <a:lnTo>
                  <a:pt x="0" y="0"/>
                </a:lnTo>
                <a:lnTo>
                  <a:pt x="0" y="5388340"/>
                </a:lnTo>
                <a:lnTo>
                  <a:pt x="2619674" y="6139493"/>
                </a:lnTo>
                <a:lnTo>
                  <a:pt x="2666628" y="6152425"/>
                </a:lnTo>
                <a:lnTo>
                  <a:pt x="2713627" y="6164311"/>
                </a:lnTo>
                <a:lnTo>
                  <a:pt x="2760659" y="6175158"/>
                </a:lnTo>
                <a:lnTo>
                  <a:pt x="2807711" y="6184973"/>
                </a:lnTo>
                <a:lnTo>
                  <a:pt x="2854769" y="6193763"/>
                </a:lnTo>
                <a:lnTo>
                  <a:pt x="2901822" y="6201536"/>
                </a:lnTo>
                <a:lnTo>
                  <a:pt x="2948856" y="6208298"/>
                </a:lnTo>
                <a:lnTo>
                  <a:pt x="2995858" y="6214057"/>
                </a:lnTo>
                <a:lnTo>
                  <a:pt x="3042816" y="6218819"/>
                </a:lnTo>
                <a:lnTo>
                  <a:pt x="3089715" y="6222593"/>
                </a:lnTo>
                <a:lnTo>
                  <a:pt x="3136545" y="6225384"/>
                </a:lnTo>
                <a:lnTo>
                  <a:pt x="3183291" y="6227200"/>
                </a:lnTo>
                <a:lnTo>
                  <a:pt x="3229941" y="6228049"/>
                </a:lnTo>
                <a:lnTo>
                  <a:pt x="3276481" y="6227937"/>
                </a:lnTo>
                <a:lnTo>
                  <a:pt x="3322900" y="6226871"/>
                </a:lnTo>
                <a:lnTo>
                  <a:pt x="3369184" y="6224859"/>
                </a:lnTo>
                <a:lnTo>
                  <a:pt x="3415319" y="6221907"/>
                </a:lnTo>
                <a:lnTo>
                  <a:pt x="3461294" y="6218023"/>
                </a:lnTo>
                <a:lnTo>
                  <a:pt x="3507095" y="6213214"/>
                </a:lnTo>
                <a:lnTo>
                  <a:pt x="3552710" y="6207486"/>
                </a:lnTo>
                <a:lnTo>
                  <a:pt x="3598125" y="6200848"/>
                </a:lnTo>
                <a:lnTo>
                  <a:pt x="3643328" y="6193306"/>
                </a:lnTo>
                <a:lnTo>
                  <a:pt x="3688305" y="6184867"/>
                </a:lnTo>
                <a:lnTo>
                  <a:pt x="3733044" y="6175539"/>
                </a:lnTo>
                <a:lnTo>
                  <a:pt x="3777532" y="6165328"/>
                </a:lnTo>
                <a:lnTo>
                  <a:pt x="3821756" y="6154241"/>
                </a:lnTo>
                <a:lnTo>
                  <a:pt x="3865704" y="6142287"/>
                </a:lnTo>
                <a:lnTo>
                  <a:pt x="3909361" y="6129471"/>
                </a:lnTo>
                <a:lnTo>
                  <a:pt x="3952716" y="6115801"/>
                </a:lnTo>
                <a:lnTo>
                  <a:pt x="3995755" y="6101284"/>
                </a:lnTo>
                <a:lnTo>
                  <a:pt x="4038465" y="6085927"/>
                </a:lnTo>
                <a:lnTo>
                  <a:pt x="4080834" y="6069737"/>
                </a:lnTo>
                <a:lnTo>
                  <a:pt x="4122849" y="6052722"/>
                </a:lnTo>
                <a:lnTo>
                  <a:pt x="4164496" y="6034888"/>
                </a:lnTo>
                <a:lnTo>
                  <a:pt x="4205763" y="6016243"/>
                </a:lnTo>
                <a:lnTo>
                  <a:pt x="4246637" y="5996794"/>
                </a:lnTo>
                <a:lnTo>
                  <a:pt x="4287106" y="5976547"/>
                </a:lnTo>
                <a:lnTo>
                  <a:pt x="4327155" y="5955510"/>
                </a:lnTo>
                <a:lnTo>
                  <a:pt x="4366773" y="5933690"/>
                </a:lnTo>
                <a:lnTo>
                  <a:pt x="4405946" y="5911094"/>
                </a:lnTo>
                <a:lnTo>
                  <a:pt x="4444661" y="5887730"/>
                </a:lnTo>
                <a:lnTo>
                  <a:pt x="4482906" y="5863604"/>
                </a:lnTo>
                <a:lnTo>
                  <a:pt x="4520668" y="5838723"/>
                </a:lnTo>
                <a:lnTo>
                  <a:pt x="4557933" y="5813095"/>
                </a:lnTo>
                <a:lnTo>
                  <a:pt x="4594689" y="5786726"/>
                </a:lnTo>
                <a:lnTo>
                  <a:pt x="4630923" y="5759624"/>
                </a:lnTo>
                <a:lnTo>
                  <a:pt x="4666622" y="5731796"/>
                </a:lnTo>
                <a:lnTo>
                  <a:pt x="4701773" y="5703249"/>
                </a:lnTo>
                <a:lnTo>
                  <a:pt x="4736364" y="5673991"/>
                </a:lnTo>
                <a:lnTo>
                  <a:pt x="4770380" y="5644027"/>
                </a:lnTo>
                <a:lnTo>
                  <a:pt x="4803811" y="5613366"/>
                </a:lnTo>
                <a:lnTo>
                  <a:pt x="4836641" y="5582014"/>
                </a:lnTo>
                <a:lnTo>
                  <a:pt x="4868859" y="5549979"/>
                </a:lnTo>
                <a:lnTo>
                  <a:pt x="4900452" y="5517267"/>
                </a:lnTo>
                <a:lnTo>
                  <a:pt x="4931407" y="5483886"/>
                </a:lnTo>
                <a:lnTo>
                  <a:pt x="4961710" y="5449843"/>
                </a:lnTo>
                <a:lnTo>
                  <a:pt x="4991350" y="5415145"/>
                </a:lnTo>
                <a:lnTo>
                  <a:pt x="5020312" y="5379799"/>
                </a:lnTo>
                <a:lnTo>
                  <a:pt x="5048585" y="5343812"/>
                </a:lnTo>
                <a:lnTo>
                  <a:pt x="5076155" y="5307192"/>
                </a:lnTo>
                <a:lnTo>
                  <a:pt x="5103010" y="5269944"/>
                </a:lnTo>
                <a:lnTo>
                  <a:pt x="5129135" y="5232078"/>
                </a:lnTo>
                <a:lnTo>
                  <a:pt x="5154520" y="5193599"/>
                </a:lnTo>
                <a:lnTo>
                  <a:pt x="5179150" y="5154515"/>
                </a:lnTo>
                <a:lnTo>
                  <a:pt x="5203013" y="5114832"/>
                </a:lnTo>
                <a:lnTo>
                  <a:pt x="5226096" y="5074559"/>
                </a:lnTo>
                <a:lnTo>
                  <a:pt x="5248385" y="5033702"/>
                </a:lnTo>
                <a:lnTo>
                  <a:pt x="5269869" y="4992268"/>
                </a:lnTo>
                <a:lnTo>
                  <a:pt x="5290534" y="4950264"/>
                </a:lnTo>
                <a:lnTo>
                  <a:pt x="5310367" y="4907697"/>
                </a:lnTo>
                <a:lnTo>
                  <a:pt x="5329355" y="4864575"/>
                </a:lnTo>
                <a:lnTo>
                  <a:pt x="5347486" y="4820905"/>
                </a:lnTo>
                <a:lnTo>
                  <a:pt x="5364746" y="4776693"/>
                </a:lnTo>
                <a:lnTo>
                  <a:pt x="5381123" y="4731948"/>
                </a:lnTo>
                <a:lnTo>
                  <a:pt x="5396604" y="4686675"/>
                </a:lnTo>
                <a:lnTo>
                  <a:pt x="5411175" y="4640882"/>
                </a:lnTo>
                <a:lnTo>
                  <a:pt x="5424825" y="4594576"/>
                </a:lnTo>
                <a:lnTo>
                  <a:pt x="6725898" y="0"/>
                </a:lnTo>
                <a:close/>
              </a:path>
            </a:pathLst>
          </a:custGeom>
          <a:solidFill>
            <a:srgbClr val="C7DFF4"/>
          </a:solidFill>
        </p:spPr>
        <p:txBody>
          <a:bodyPr wrap="square" lIns="0" tIns="0" rIns="0" bIns="0" rtlCol="0"/>
          <a:lstStyle/>
          <a:p>
            <a:endParaRPr/>
          </a:p>
        </p:txBody>
      </p:sp>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96524247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106251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accent1"/>
                </a:solidFill>
                <a:latin typeface="+mj-lt"/>
              </a:rPr>
              <a:t>We connect Denmark.</a:t>
            </a:r>
          </a:p>
          <a:p>
            <a:pPr algn="r"/>
            <a:r>
              <a:rPr lang="en-GB" sz="2000" i="0" dirty="0">
                <a:solidFill>
                  <a:schemeClr val="accent1"/>
                </a:solidFill>
                <a:latin typeface="+mj-lt"/>
              </a:rPr>
              <a:t>For everyone.</a:t>
            </a: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dirty="0"/>
              <a:t>Click to add title</a:t>
            </a:r>
          </a:p>
        </p:txBody>
      </p:sp>
    </p:spTree>
    <p:extLst>
      <p:ext uri="{BB962C8B-B14F-4D97-AF65-F5344CB8AC3E}">
        <p14:creationId xmlns:p14="http://schemas.microsoft.com/office/powerpoint/2010/main" val="3023975318"/>
      </p:ext>
    </p:extLst>
  </p:cSld>
  <p:clrMapOvr>
    <a:masterClrMapping/>
  </p:clrMapOvr>
  <p:hf hdr="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wo Content A">
    <p:spTree>
      <p:nvGrpSpPr>
        <p:cNvPr id="1" name=""/>
        <p:cNvGrpSpPr/>
        <p:nvPr/>
      </p:nvGrpSpPr>
      <p:grpSpPr>
        <a:xfrm>
          <a:off x="0" y="0"/>
          <a:ext cx="0" cy="0"/>
          <a:chOff x="0" y="0"/>
          <a:chExt cx="0" cy="0"/>
        </a:xfrm>
      </p:grpSpPr>
      <p:pic>
        <p:nvPicPr>
          <p:cNvPr id="8" name="Pladsholder til indhold 2" descr="Et billede, der indeholder lampe&#10;&#10;Automatisk genereret beskrivelse">
            <a:extLst>
              <a:ext uri="{FF2B5EF4-FFF2-40B4-BE49-F238E27FC236}">
                <a16:creationId xmlns:a16="http://schemas.microsoft.com/office/drawing/2014/main" id="{E84200B9-7335-2541-AA22-9048019D121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5875986" cy="6858000"/>
          </a:xfrm>
          <a:prstGeom prst="rect">
            <a:avLst/>
          </a:prstGeom>
        </p:spPr>
      </p:pic>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9" name="Logo">
            <a:extLst>
              <a:ext uri="{FF2B5EF4-FFF2-40B4-BE49-F238E27FC236}">
                <a16:creationId xmlns:a16="http://schemas.microsoft.com/office/drawing/2014/main" id="{16AD32FC-784E-3448-9B24-E8FA4CB9F84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12510888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Two Content A">
    <p:spTree>
      <p:nvGrpSpPr>
        <p:cNvPr id="1" name=""/>
        <p:cNvGrpSpPr/>
        <p:nvPr/>
      </p:nvGrpSpPr>
      <p:grpSpPr>
        <a:xfrm>
          <a:off x="0" y="0"/>
          <a:ext cx="0" cy="0"/>
          <a:chOff x="0" y="0"/>
          <a:chExt cx="0" cy="0"/>
        </a:xfrm>
      </p:grpSpPr>
      <p:pic>
        <p:nvPicPr>
          <p:cNvPr id="10" name="Pladsholder til indhold 2" descr="Et billede, der indeholder bygning, monitor&#10;&#10;Automatisk genereret beskrivelse">
            <a:extLst>
              <a:ext uri="{FF2B5EF4-FFF2-40B4-BE49-F238E27FC236}">
                <a16:creationId xmlns:a16="http://schemas.microsoft.com/office/drawing/2014/main" id="{E24EDB38-8371-F041-8DB6-5782C89C7D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595807"/>
            <a:ext cx="5365630" cy="3262193"/>
          </a:xfrm>
          <a:prstGeom prst="rect">
            <a:avLst/>
          </a:prstGeom>
        </p:spPr>
      </p:pic>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9" name="Logo">
            <a:extLst>
              <a:ext uri="{FF2B5EF4-FFF2-40B4-BE49-F238E27FC236}">
                <a16:creationId xmlns:a16="http://schemas.microsoft.com/office/drawing/2014/main" id="{16AD32FC-784E-3448-9B24-E8FA4CB9F84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4175307248"/>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Two Content A">
    <p:spTree>
      <p:nvGrpSpPr>
        <p:cNvPr id="1" name=""/>
        <p:cNvGrpSpPr/>
        <p:nvPr/>
      </p:nvGrpSpPr>
      <p:grpSpPr>
        <a:xfrm>
          <a:off x="0" y="0"/>
          <a:ext cx="0" cy="0"/>
          <a:chOff x="0" y="0"/>
          <a:chExt cx="0" cy="0"/>
        </a:xfrm>
      </p:grpSpPr>
      <p:pic>
        <p:nvPicPr>
          <p:cNvPr id="8" name="Pladsholder til indhold 2" descr="Et billede, der indeholder fugl&#10;&#10;Automatisk genereret beskrivelse">
            <a:extLst>
              <a:ext uri="{FF2B5EF4-FFF2-40B4-BE49-F238E27FC236}">
                <a16:creationId xmlns:a16="http://schemas.microsoft.com/office/drawing/2014/main" id="{91D7C634-13F4-E744-B60A-88EB6F28821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21" y="1156482"/>
            <a:ext cx="6267432" cy="5718771"/>
          </a:xfrm>
          <a:prstGeom prst="rect">
            <a:avLst/>
          </a:prstGeom>
        </p:spPr>
      </p:pic>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9" name="Logo">
            <a:extLst>
              <a:ext uri="{FF2B5EF4-FFF2-40B4-BE49-F238E27FC236}">
                <a16:creationId xmlns:a16="http://schemas.microsoft.com/office/drawing/2014/main" id="{16AD32FC-784E-3448-9B24-E8FA4CB9F84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4061807947"/>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Two Content A">
    <p:spTree>
      <p:nvGrpSpPr>
        <p:cNvPr id="1" name=""/>
        <p:cNvGrpSpPr/>
        <p:nvPr/>
      </p:nvGrpSpPr>
      <p:grpSpPr>
        <a:xfrm>
          <a:off x="0" y="0"/>
          <a:ext cx="0" cy="0"/>
          <a:chOff x="0" y="0"/>
          <a:chExt cx="0" cy="0"/>
        </a:xfrm>
      </p:grpSpPr>
      <p:pic>
        <p:nvPicPr>
          <p:cNvPr id="10" name="Pladsholder til indhold 2" descr="Et billede, der indeholder bord&#10;&#10;Automatisk genereret beskrivelse">
            <a:extLst>
              <a:ext uri="{FF2B5EF4-FFF2-40B4-BE49-F238E27FC236}">
                <a16:creationId xmlns:a16="http://schemas.microsoft.com/office/drawing/2014/main" id="{200960CC-54E3-6D4F-96B2-D369C101DD5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6203596" cy="5467905"/>
          </a:xfrm>
          <a:prstGeom prst="rect">
            <a:avLst/>
          </a:prstGeom>
        </p:spPr>
      </p:pic>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9" name="Logo">
            <a:extLst>
              <a:ext uri="{FF2B5EF4-FFF2-40B4-BE49-F238E27FC236}">
                <a16:creationId xmlns:a16="http://schemas.microsoft.com/office/drawing/2014/main" id="{16AD32FC-784E-3448-9B24-E8FA4CB9F84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054594843"/>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wo Content A">
    <p:spTree>
      <p:nvGrpSpPr>
        <p:cNvPr id="1" name=""/>
        <p:cNvGrpSpPr/>
        <p:nvPr/>
      </p:nvGrpSpPr>
      <p:grpSpPr>
        <a:xfrm>
          <a:off x="0" y="0"/>
          <a:ext cx="0" cy="0"/>
          <a:chOff x="0" y="0"/>
          <a:chExt cx="0" cy="0"/>
        </a:xfrm>
      </p:grpSpPr>
      <p:sp>
        <p:nvSpPr>
          <p:cNvPr id="8" name="object 2">
            <a:extLst>
              <a:ext uri="{FF2B5EF4-FFF2-40B4-BE49-F238E27FC236}">
                <a16:creationId xmlns:a16="http://schemas.microsoft.com/office/drawing/2014/main" id="{2A2271EA-2221-0143-A222-73806CFE028B}"/>
              </a:ext>
            </a:extLst>
          </p:cNvPr>
          <p:cNvSpPr/>
          <p:nvPr userDrawn="1"/>
        </p:nvSpPr>
        <p:spPr>
          <a:xfrm>
            <a:off x="-1775" y="1542862"/>
            <a:ext cx="7553950" cy="5316876"/>
          </a:xfrm>
          <a:custGeom>
            <a:avLst/>
            <a:gdLst/>
            <a:ahLst/>
            <a:cxnLst/>
            <a:rect l="l" t="t" r="r" b="b"/>
            <a:pathLst>
              <a:path w="7365365" h="5184140">
                <a:moveTo>
                  <a:pt x="256510" y="0"/>
                </a:moveTo>
                <a:lnTo>
                  <a:pt x="210195" y="371"/>
                </a:lnTo>
                <a:lnTo>
                  <a:pt x="164044" y="1808"/>
                </a:lnTo>
                <a:lnTo>
                  <a:pt x="118073" y="4299"/>
                </a:lnTo>
                <a:lnTo>
                  <a:pt x="72296" y="7836"/>
                </a:lnTo>
                <a:lnTo>
                  <a:pt x="26730" y="12408"/>
                </a:lnTo>
                <a:lnTo>
                  <a:pt x="0" y="15708"/>
                </a:lnTo>
                <a:lnTo>
                  <a:pt x="0" y="5183988"/>
                </a:lnTo>
                <a:lnTo>
                  <a:pt x="6968904" y="5183988"/>
                </a:lnTo>
                <a:lnTo>
                  <a:pt x="7321532" y="3533604"/>
                </a:lnTo>
                <a:lnTo>
                  <a:pt x="7330934" y="3486874"/>
                </a:lnTo>
                <a:lnTo>
                  <a:pt x="7339176" y="3440163"/>
                </a:lnTo>
                <a:lnTo>
                  <a:pt x="7346269" y="3393486"/>
                </a:lnTo>
                <a:lnTo>
                  <a:pt x="7352221" y="3346858"/>
                </a:lnTo>
                <a:lnTo>
                  <a:pt x="7357043" y="3300295"/>
                </a:lnTo>
                <a:lnTo>
                  <a:pt x="7360744" y="3253812"/>
                </a:lnTo>
                <a:lnTo>
                  <a:pt x="7363335" y="3207424"/>
                </a:lnTo>
                <a:lnTo>
                  <a:pt x="7364826" y="3161146"/>
                </a:lnTo>
                <a:lnTo>
                  <a:pt x="7365227" y="3114994"/>
                </a:lnTo>
                <a:lnTo>
                  <a:pt x="7364547" y="3068982"/>
                </a:lnTo>
                <a:lnTo>
                  <a:pt x="7362796" y="3023126"/>
                </a:lnTo>
                <a:lnTo>
                  <a:pt x="7359984" y="2977442"/>
                </a:lnTo>
                <a:lnTo>
                  <a:pt x="7356122" y="2931944"/>
                </a:lnTo>
                <a:lnTo>
                  <a:pt x="7351218" y="2886647"/>
                </a:lnTo>
                <a:lnTo>
                  <a:pt x="7345284" y="2841568"/>
                </a:lnTo>
                <a:lnTo>
                  <a:pt x="7338329" y="2796720"/>
                </a:lnTo>
                <a:lnTo>
                  <a:pt x="7330363" y="2752120"/>
                </a:lnTo>
                <a:lnTo>
                  <a:pt x="7321395" y="2707782"/>
                </a:lnTo>
                <a:lnTo>
                  <a:pt x="7311436" y="2663722"/>
                </a:lnTo>
                <a:lnTo>
                  <a:pt x="7300496" y="2619956"/>
                </a:lnTo>
                <a:lnTo>
                  <a:pt x="7288585" y="2576497"/>
                </a:lnTo>
                <a:lnTo>
                  <a:pt x="7275712" y="2533362"/>
                </a:lnTo>
                <a:lnTo>
                  <a:pt x="7261887" y="2490566"/>
                </a:lnTo>
                <a:lnTo>
                  <a:pt x="7247121" y="2448123"/>
                </a:lnTo>
                <a:lnTo>
                  <a:pt x="7231423" y="2406050"/>
                </a:lnTo>
                <a:lnTo>
                  <a:pt x="7214803" y="2364361"/>
                </a:lnTo>
                <a:lnTo>
                  <a:pt x="7197271" y="2323072"/>
                </a:lnTo>
                <a:lnTo>
                  <a:pt x="7178838" y="2282197"/>
                </a:lnTo>
                <a:lnTo>
                  <a:pt x="7159512" y="2241753"/>
                </a:lnTo>
                <a:lnTo>
                  <a:pt x="7139305" y="2201754"/>
                </a:lnTo>
                <a:lnTo>
                  <a:pt x="7118225" y="2162216"/>
                </a:lnTo>
                <a:lnTo>
                  <a:pt x="7096283" y="2123153"/>
                </a:lnTo>
                <a:lnTo>
                  <a:pt x="7073488" y="2084581"/>
                </a:lnTo>
                <a:lnTo>
                  <a:pt x="7049851" y="2046516"/>
                </a:lnTo>
                <a:lnTo>
                  <a:pt x="7025382" y="2008972"/>
                </a:lnTo>
                <a:lnTo>
                  <a:pt x="7000090" y="1971964"/>
                </a:lnTo>
                <a:lnTo>
                  <a:pt x="6973986" y="1935509"/>
                </a:lnTo>
                <a:lnTo>
                  <a:pt x="6947079" y="1899621"/>
                </a:lnTo>
                <a:lnTo>
                  <a:pt x="6919379" y="1864315"/>
                </a:lnTo>
                <a:lnTo>
                  <a:pt x="6890896" y="1829607"/>
                </a:lnTo>
                <a:lnTo>
                  <a:pt x="6861640" y="1795511"/>
                </a:lnTo>
                <a:lnTo>
                  <a:pt x="6831621" y="1762044"/>
                </a:lnTo>
                <a:lnTo>
                  <a:pt x="6800849" y="1729220"/>
                </a:lnTo>
                <a:lnTo>
                  <a:pt x="6769334" y="1697054"/>
                </a:lnTo>
                <a:lnTo>
                  <a:pt x="6737086" y="1665562"/>
                </a:lnTo>
                <a:lnTo>
                  <a:pt x="6704114" y="1634759"/>
                </a:lnTo>
                <a:lnTo>
                  <a:pt x="6670429" y="1604661"/>
                </a:lnTo>
                <a:lnTo>
                  <a:pt x="6636041" y="1575281"/>
                </a:lnTo>
                <a:lnTo>
                  <a:pt x="6600959" y="1546637"/>
                </a:lnTo>
                <a:lnTo>
                  <a:pt x="6565193" y="1518742"/>
                </a:lnTo>
                <a:lnTo>
                  <a:pt x="6528754" y="1491612"/>
                </a:lnTo>
                <a:lnTo>
                  <a:pt x="6491651" y="1465263"/>
                </a:lnTo>
                <a:lnTo>
                  <a:pt x="6453894" y="1439710"/>
                </a:lnTo>
                <a:lnTo>
                  <a:pt x="6415493" y="1414967"/>
                </a:lnTo>
                <a:lnTo>
                  <a:pt x="6376458" y="1391050"/>
                </a:lnTo>
                <a:lnTo>
                  <a:pt x="6336799" y="1367975"/>
                </a:lnTo>
                <a:lnTo>
                  <a:pt x="6296526" y="1345756"/>
                </a:lnTo>
                <a:lnTo>
                  <a:pt x="6255649" y="1324408"/>
                </a:lnTo>
                <a:lnTo>
                  <a:pt x="6214177" y="1303948"/>
                </a:lnTo>
                <a:lnTo>
                  <a:pt x="6172121" y="1284390"/>
                </a:lnTo>
                <a:lnTo>
                  <a:pt x="6129490" y="1265749"/>
                </a:lnTo>
                <a:lnTo>
                  <a:pt x="6086295" y="1248041"/>
                </a:lnTo>
                <a:lnTo>
                  <a:pt x="6042546" y="1231281"/>
                </a:lnTo>
                <a:lnTo>
                  <a:pt x="5998251" y="1215484"/>
                </a:lnTo>
                <a:lnTo>
                  <a:pt x="5953422" y="1200665"/>
                </a:lnTo>
                <a:lnTo>
                  <a:pt x="5908068" y="1186840"/>
                </a:lnTo>
                <a:lnTo>
                  <a:pt x="5862200" y="1174023"/>
                </a:lnTo>
                <a:lnTo>
                  <a:pt x="5815826" y="1162231"/>
                </a:lnTo>
                <a:lnTo>
                  <a:pt x="5768957" y="1151478"/>
                </a:lnTo>
                <a:lnTo>
                  <a:pt x="678213" y="46171"/>
                </a:lnTo>
                <a:lnTo>
                  <a:pt x="631107" y="36522"/>
                </a:lnTo>
                <a:lnTo>
                  <a:pt x="584029" y="28026"/>
                </a:lnTo>
                <a:lnTo>
                  <a:pt x="536992" y="20672"/>
                </a:lnTo>
                <a:lnTo>
                  <a:pt x="490013" y="14451"/>
                </a:lnTo>
                <a:lnTo>
                  <a:pt x="443106" y="9353"/>
                </a:lnTo>
                <a:lnTo>
                  <a:pt x="396287" y="5369"/>
                </a:lnTo>
                <a:lnTo>
                  <a:pt x="349571" y="2489"/>
                </a:lnTo>
                <a:lnTo>
                  <a:pt x="302974" y="702"/>
                </a:lnTo>
                <a:lnTo>
                  <a:pt x="256510" y="0"/>
                </a:lnTo>
                <a:close/>
              </a:path>
            </a:pathLst>
          </a:custGeom>
          <a:solidFill>
            <a:srgbClr val="C7DFF4"/>
          </a:solidFill>
        </p:spPr>
        <p:txBody>
          <a:bodyPr wrap="square" lIns="0" tIns="0" rIns="0" bIns="0" rtlCol="0"/>
          <a:lstStyle/>
          <a:p>
            <a:endParaRPr/>
          </a:p>
        </p:txBody>
      </p:sp>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9" name="Logo">
            <a:extLst>
              <a:ext uri="{FF2B5EF4-FFF2-40B4-BE49-F238E27FC236}">
                <a16:creationId xmlns:a16="http://schemas.microsoft.com/office/drawing/2014/main" id="{16AD32FC-784E-3448-9B24-E8FA4CB9F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473247359"/>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7_Two Content A">
    <p:spTree>
      <p:nvGrpSpPr>
        <p:cNvPr id="1" name=""/>
        <p:cNvGrpSpPr/>
        <p:nvPr/>
      </p:nvGrpSpPr>
      <p:grpSpPr>
        <a:xfrm>
          <a:off x="0" y="0"/>
          <a:ext cx="0" cy="0"/>
          <a:chOff x="0" y="0"/>
          <a:chExt cx="0" cy="0"/>
        </a:xfrm>
      </p:grpSpPr>
      <p:sp>
        <p:nvSpPr>
          <p:cNvPr id="10" name="object 2">
            <a:extLst>
              <a:ext uri="{FF2B5EF4-FFF2-40B4-BE49-F238E27FC236}">
                <a16:creationId xmlns:a16="http://schemas.microsoft.com/office/drawing/2014/main" id="{12E59C84-1D4F-E849-B69A-CDDEEAB1AE39}"/>
              </a:ext>
            </a:extLst>
          </p:cNvPr>
          <p:cNvSpPr/>
          <p:nvPr userDrawn="1"/>
        </p:nvSpPr>
        <p:spPr>
          <a:xfrm>
            <a:off x="0" y="1671879"/>
            <a:ext cx="7365365" cy="5184140"/>
          </a:xfrm>
          <a:custGeom>
            <a:avLst/>
            <a:gdLst/>
            <a:ahLst/>
            <a:cxnLst/>
            <a:rect l="l" t="t" r="r" b="b"/>
            <a:pathLst>
              <a:path w="7365365" h="5184140">
                <a:moveTo>
                  <a:pt x="256510" y="0"/>
                </a:moveTo>
                <a:lnTo>
                  <a:pt x="210195" y="371"/>
                </a:lnTo>
                <a:lnTo>
                  <a:pt x="164044" y="1808"/>
                </a:lnTo>
                <a:lnTo>
                  <a:pt x="118073" y="4299"/>
                </a:lnTo>
                <a:lnTo>
                  <a:pt x="72296" y="7836"/>
                </a:lnTo>
                <a:lnTo>
                  <a:pt x="26730" y="12408"/>
                </a:lnTo>
                <a:lnTo>
                  <a:pt x="0" y="15708"/>
                </a:lnTo>
                <a:lnTo>
                  <a:pt x="0" y="5183988"/>
                </a:lnTo>
                <a:lnTo>
                  <a:pt x="6968904" y="5183988"/>
                </a:lnTo>
                <a:lnTo>
                  <a:pt x="7321532" y="3533604"/>
                </a:lnTo>
                <a:lnTo>
                  <a:pt x="7330934" y="3486874"/>
                </a:lnTo>
                <a:lnTo>
                  <a:pt x="7339176" y="3440163"/>
                </a:lnTo>
                <a:lnTo>
                  <a:pt x="7346269" y="3393486"/>
                </a:lnTo>
                <a:lnTo>
                  <a:pt x="7352221" y="3346858"/>
                </a:lnTo>
                <a:lnTo>
                  <a:pt x="7357043" y="3300295"/>
                </a:lnTo>
                <a:lnTo>
                  <a:pt x="7360744" y="3253812"/>
                </a:lnTo>
                <a:lnTo>
                  <a:pt x="7363335" y="3207424"/>
                </a:lnTo>
                <a:lnTo>
                  <a:pt x="7364826" y="3161146"/>
                </a:lnTo>
                <a:lnTo>
                  <a:pt x="7365227" y="3114994"/>
                </a:lnTo>
                <a:lnTo>
                  <a:pt x="7364547" y="3068982"/>
                </a:lnTo>
                <a:lnTo>
                  <a:pt x="7362796" y="3023126"/>
                </a:lnTo>
                <a:lnTo>
                  <a:pt x="7359984" y="2977442"/>
                </a:lnTo>
                <a:lnTo>
                  <a:pt x="7356122" y="2931944"/>
                </a:lnTo>
                <a:lnTo>
                  <a:pt x="7351218" y="2886647"/>
                </a:lnTo>
                <a:lnTo>
                  <a:pt x="7345284" y="2841568"/>
                </a:lnTo>
                <a:lnTo>
                  <a:pt x="7338329" y="2796720"/>
                </a:lnTo>
                <a:lnTo>
                  <a:pt x="7330363" y="2752120"/>
                </a:lnTo>
                <a:lnTo>
                  <a:pt x="7321395" y="2707782"/>
                </a:lnTo>
                <a:lnTo>
                  <a:pt x="7311436" y="2663722"/>
                </a:lnTo>
                <a:lnTo>
                  <a:pt x="7300496" y="2619956"/>
                </a:lnTo>
                <a:lnTo>
                  <a:pt x="7288585" y="2576497"/>
                </a:lnTo>
                <a:lnTo>
                  <a:pt x="7275712" y="2533362"/>
                </a:lnTo>
                <a:lnTo>
                  <a:pt x="7261887" y="2490566"/>
                </a:lnTo>
                <a:lnTo>
                  <a:pt x="7247121" y="2448123"/>
                </a:lnTo>
                <a:lnTo>
                  <a:pt x="7231423" y="2406050"/>
                </a:lnTo>
                <a:lnTo>
                  <a:pt x="7214803" y="2364361"/>
                </a:lnTo>
                <a:lnTo>
                  <a:pt x="7197271" y="2323072"/>
                </a:lnTo>
                <a:lnTo>
                  <a:pt x="7178838" y="2282197"/>
                </a:lnTo>
                <a:lnTo>
                  <a:pt x="7159512" y="2241753"/>
                </a:lnTo>
                <a:lnTo>
                  <a:pt x="7139305" y="2201754"/>
                </a:lnTo>
                <a:lnTo>
                  <a:pt x="7118225" y="2162216"/>
                </a:lnTo>
                <a:lnTo>
                  <a:pt x="7096283" y="2123153"/>
                </a:lnTo>
                <a:lnTo>
                  <a:pt x="7073488" y="2084581"/>
                </a:lnTo>
                <a:lnTo>
                  <a:pt x="7049851" y="2046516"/>
                </a:lnTo>
                <a:lnTo>
                  <a:pt x="7025382" y="2008972"/>
                </a:lnTo>
                <a:lnTo>
                  <a:pt x="7000090" y="1971964"/>
                </a:lnTo>
                <a:lnTo>
                  <a:pt x="6973986" y="1935509"/>
                </a:lnTo>
                <a:lnTo>
                  <a:pt x="6947079" y="1899621"/>
                </a:lnTo>
                <a:lnTo>
                  <a:pt x="6919379" y="1864315"/>
                </a:lnTo>
                <a:lnTo>
                  <a:pt x="6890896" y="1829607"/>
                </a:lnTo>
                <a:lnTo>
                  <a:pt x="6861640" y="1795511"/>
                </a:lnTo>
                <a:lnTo>
                  <a:pt x="6831621" y="1762044"/>
                </a:lnTo>
                <a:lnTo>
                  <a:pt x="6800849" y="1729220"/>
                </a:lnTo>
                <a:lnTo>
                  <a:pt x="6769334" y="1697054"/>
                </a:lnTo>
                <a:lnTo>
                  <a:pt x="6737086" y="1665562"/>
                </a:lnTo>
                <a:lnTo>
                  <a:pt x="6704114" y="1634759"/>
                </a:lnTo>
                <a:lnTo>
                  <a:pt x="6670429" y="1604661"/>
                </a:lnTo>
                <a:lnTo>
                  <a:pt x="6636041" y="1575281"/>
                </a:lnTo>
                <a:lnTo>
                  <a:pt x="6600959" y="1546637"/>
                </a:lnTo>
                <a:lnTo>
                  <a:pt x="6565193" y="1518742"/>
                </a:lnTo>
                <a:lnTo>
                  <a:pt x="6528754" y="1491612"/>
                </a:lnTo>
                <a:lnTo>
                  <a:pt x="6491651" y="1465263"/>
                </a:lnTo>
                <a:lnTo>
                  <a:pt x="6453894" y="1439710"/>
                </a:lnTo>
                <a:lnTo>
                  <a:pt x="6415493" y="1414967"/>
                </a:lnTo>
                <a:lnTo>
                  <a:pt x="6376458" y="1391050"/>
                </a:lnTo>
                <a:lnTo>
                  <a:pt x="6336799" y="1367975"/>
                </a:lnTo>
                <a:lnTo>
                  <a:pt x="6296526" y="1345756"/>
                </a:lnTo>
                <a:lnTo>
                  <a:pt x="6255649" y="1324408"/>
                </a:lnTo>
                <a:lnTo>
                  <a:pt x="6214177" y="1303948"/>
                </a:lnTo>
                <a:lnTo>
                  <a:pt x="6172121" y="1284390"/>
                </a:lnTo>
                <a:lnTo>
                  <a:pt x="6129490" y="1265749"/>
                </a:lnTo>
                <a:lnTo>
                  <a:pt x="6086295" y="1248041"/>
                </a:lnTo>
                <a:lnTo>
                  <a:pt x="6042546" y="1231281"/>
                </a:lnTo>
                <a:lnTo>
                  <a:pt x="5998251" y="1215484"/>
                </a:lnTo>
                <a:lnTo>
                  <a:pt x="5953422" y="1200665"/>
                </a:lnTo>
                <a:lnTo>
                  <a:pt x="5908068" y="1186840"/>
                </a:lnTo>
                <a:lnTo>
                  <a:pt x="5862200" y="1174023"/>
                </a:lnTo>
                <a:lnTo>
                  <a:pt x="5815826" y="1162231"/>
                </a:lnTo>
                <a:lnTo>
                  <a:pt x="5768957" y="1151478"/>
                </a:lnTo>
                <a:lnTo>
                  <a:pt x="678213" y="46171"/>
                </a:lnTo>
                <a:lnTo>
                  <a:pt x="631107" y="36522"/>
                </a:lnTo>
                <a:lnTo>
                  <a:pt x="584029" y="28026"/>
                </a:lnTo>
                <a:lnTo>
                  <a:pt x="536992" y="20672"/>
                </a:lnTo>
                <a:lnTo>
                  <a:pt x="490013" y="14451"/>
                </a:lnTo>
                <a:lnTo>
                  <a:pt x="443106" y="9353"/>
                </a:lnTo>
                <a:lnTo>
                  <a:pt x="396287" y="5369"/>
                </a:lnTo>
                <a:lnTo>
                  <a:pt x="349571" y="2489"/>
                </a:lnTo>
                <a:lnTo>
                  <a:pt x="302974" y="702"/>
                </a:lnTo>
                <a:lnTo>
                  <a:pt x="256510" y="0"/>
                </a:lnTo>
                <a:close/>
              </a:path>
            </a:pathLst>
          </a:custGeom>
          <a:solidFill>
            <a:srgbClr val="FCECD5"/>
          </a:solidFill>
        </p:spPr>
        <p:txBody>
          <a:bodyPr wrap="square" lIns="0" tIns="0" rIns="0" bIns="0" rtlCol="0"/>
          <a:lstStyle/>
          <a:p>
            <a:endParaRPr/>
          </a:p>
        </p:txBody>
      </p:sp>
      <p:sp>
        <p:nvSpPr>
          <p:cNvPr id="3" name="Content Placeholder 2"/>
          <p:cNvSpPr>
            <a:spLocks noGrp="1"/>
          </p:cNvSpPr>
          <p:nvPr>
            <p:ph idx="1"/>
          </p:nvPr>
        </p:nvSpPr>
        <p:spPr>
          <a:xfrm>
            <a:off x="588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dirty="0"/>
              <a:t>Klik for at redigere teksttypografierne i masteren</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663337"/>
            <a:ext cx="5220000" cy="453702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9" name="Logo">
            <a:extLst>
              <a:ext uri="{FF2B5EF4-FFF2-40B4-BE49-F238E27FC236}">
                <a16:creationId xmlns:a16="http://schemas.microsoft.com/office/drawing/2014/main" id="{16AD32FC-784E-3448-9B24-E8FA4CB9F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4000813448"/>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429797629"/>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C58F6B-09A5-E44D-9E52-16A39262F1B2}"/>
              </a:ext>
            </a:extLst>
          </p:cNvPr>
          <p:cNvSpPr>
            <a:spLocks noGrp="1"/>
          </p:cNvSpPr>
          <p:nvPr>
            <p:ph type="title"/>
          </p:nvPr>
        </p:nvSpPr>
        <p:spPr/>
        <p:txBody>
          <a:bodyPr/>
          <a:lstStyle/>
          <a:p>
            <a:r>
              <a:rPr lang="da-DK"/>
              <a:t>Klik for at redigere titeltypografien i masteren</a:t>
            </a:r>
          </a:p>
        </p:txBody>
      </p:sp>
    </p:spTree>
    <p:extLst>
      <p:ext uri="{BB962C8B-B14F-4D97-AF65-F5344CB8AC3E}">
        <p14:creationId xmlns:p14="http://schemas.microsoft.com/office/powerpoint/2010/main" val="91069401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_Brugerdefineret layout">
    <p:spTree>
      <p:nvGrpSpPr>
        <p:cNvPr id="1" name=""/>
        <p:cNvGrpSpPr/>
        <p:nvPr/>
      </p:nvGrpSpPr>
      <p:grpSpPr>
        <a:xfrm>
          <a:off x="0" y="0"/>
          <a:ext cx="0" cy="0"/>
          <a:chOff x="0" y="0"/>
          <a:chExt cx="0" cy="0"/>
        </a:xfrm>
      </p:grpSpPr>
      <p:pic>
        <p:nvPicPr>
          <p:cNvPr id="3" name="Billede 2" descr="Et billede, der indeholder lys&#10;&#10;Automatisk genereret beskrivelse">
            <a:extLst>
              <a:ext uri="{FF2B5EF4-FFF2-40B4-BE49-F238E27FC236}">
                <a16:creationId xmlns:a16="http://schemas.microsoft.com/office/drawing/2014/main" id="{043063A0-FDCF-AA4E-96E7-578BD44441A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 t="-381" r="1" b="5776"/>
          <a:stretch/>
        </p:blipFill>
        <p:spPr>
          <a:xfrm>
            <a:off x="0" y="-34506"/>
            <a:ext cx="12191999" cy="6892506"/>
          </a:xfrm>
          <a:prstGeom prst="rect">
            <a:avLst/>
          </a:prstGeom>
        </p:spPr>
      </p:pic>
      <p:sp>
        <p:nvSpPr>
          <p:cNvPr id="2" name="Titel 1">
            <a:extLst>
              <a:ext uri="{FF2B5EF4-FFF2-40B4-BE49-F238E27FC236}">
                <a16:creationId xmlns:a16="http://schemas.microsoft.com/office/drawing/2014/main" id="{122A7C94-B819-764E-87A1-1076875E3FC4}"/>
              </a:ext>
            </a:extLst>
          </p:cNvPr>
          <p:cNvSpPr>
            <a:spLocks noGrp="1"/>
          </p:cNvSpPr>
          <p:nvPr>
            <p:ph type="title"/>
          </p:nvPr>
        </p:nvSpPr>
        <p:spPr/>
        <p:txBody>
          <a:bodyPr/>
          <a:lstStyle/>
          <a:p>
            <a:r>
              <a:rPr lang="da-DK"/>
              <a:t>Klik for at redigere titeltypografien i masteren</a:t>
            </a:r>
          </a:p>
        </p:txBody>
      </p:sp>
      <p:pic>
        <p:nvPicPr>
          <p:cNvPr id="5" name="Logo">
            <a:extLst>
              <a:ext uri="{FF2B5EF4-FFF2-40B4-BE49-F238E27FC236}">
                <a16:creationId xmlns:a16="http://schemas.microsoft.com/office/drawing/2014/main" id="{1DEC9DE2-295A-1743-849F-6F01A88CEA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78743126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_Brugerdefineret layout">
    <p:spTree>
      <p:nvGrpSpPr>
        <p:cNvPr id="1" name=""/>
        <p:cNvGrpSpPr/>
        <p:nvPr/>
      </p:nvGrpSpPr>
      <p:grpSpPr>
        <a:xfrm>
          <a:off x="0" y="0"/>
          <a:ext cx="0" cy="0"/>
          <a:chOff x="0" y="0"/>
          <a:chExt cx="0" cy="0"/>
        </a:xfrm>
      </p:grpSpPr>
      <p:pic>
        <p:nvPicPr>
          <p:cNvPr id="3" name="Billede 2" descr="Et billede, der indeholder paraply&#10;&#10;Automatisk genereret beskrivelse">
            <a:extLst>
              <a:ext uri="{FF2B5EF4-FFF2-40B4-BE49-F238E27FC236}">
                <a16:creationId xmlns:a16="http://schemas.microsoft.com/office/drawing/2014/main" id="{8E9E4F36-FF38-9144-9F6A-DD78B7B9AC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900" b="4076"/>
          <a:stretch/>
        </p:blipFill>
        <p:spPr>
          <a:xfrm>
            <a:off x="0" y="0"/>
            <a:ext cx="12205854" cy="6858000"/>
          </a:xfrm>
          <a:prstGeom prst="rect">
            <a:avLst/>
          </a:prstGeom>
        </p:spPr>
      </p:pic>
      <p:pic>
        <p:nvPicPr>
          <p:cNvPr id="4" name="Logo">
            <a:extLst>
              <a:ext uri="{FF2B5EF4-FFF2-40B4-BE49-F238E27FC236}">
                <a16:creationId xmlns:a16="http://schemas.microsoft.com/office/drawing/2014/main" id="{354C1A55-4841-B74A-93AD-3D8D69BC8F72}"/>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2" name="Titel 1">
            <a:extLst>
              <a:ext uri="{FF2B5EF4-FFF2-40B4-BE49-F238E27FC236}">
                <a16:creationId xmlns:a16="http://schemas.microsoft.com/office/drawing/2014/main" id="{498E0FF3-EF98-8546-A8BF-EB802EAC6B9F}"/>
              </a:ext>
            </a:extLst>
          </p:cNvPr>
          <p:cNvSpPr>
            <a:spLocks noGrp="1"/>
          </p:cNvSpPr>
          <p:nvPr>
            <p:ph type="title"/>
          </p:nvPr>
        </p:nvSpPr>
        <p:spPr/>
        <p:txBody>
          <a:bodyPr/>
          <a:lstStyle/>
          <a:p>
            <a:r>
              <a:rPr lang="da-DK"/>
              <a:t>Klik for at redigere titeltypografien i masteren</a:t>
            </a:r>
          </a:p>
        </p:txBody>
      </p:sp>
    </p:spTree>
    <p:extLst>
      <p:ext uri="{BB962C8B-B14F-4D97-AF65-F5344CB8AC3E}">
        <p14:creationId xmlns:p14="http://schemas.microsoft.com/office/powerpoint/2010/main" val="31578293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288038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3195932933"/>
      </p:ext>
    </p:extLst>
  </p:cSld>
  <p:clrMapOvr>
    <a:masterClrMapping/>
  </p:clrMapOvr>
  <p:hf hdr="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_Brugerdefineret layout">
    <p:spTree>
      <p:nvGrpSpPr>
        <p:cNvPr id="1" name=""/>
        <p:cNvGrpSpPr/>
        <p:nvPr/>
      </p:nvGrpSpPr>
      <p:grpSpPr>
        <a:xfrm>
          <a:off x="0" y="0"/>
          <a:ext cx="0" cy="0"/>
          <a:chOff x="0" y="0"/>
          <a:chExt cx="0" cy="0"/>
        </a:xfrm>
      </p:grpSpPr>
      <p:pic>
        <p:nvPicPr>
          <p:cNvPr id="3" name="Billede 2" descr="Et billede, der indeholder paraply&#10;&#10;Automatisk genereret beskrivelse">
            <a:extLst>
              <a:ext uri="{FF2B5EF4-FFF2-40B4-BE49-F238E27FC236}">
                <a16:creationId xmlns:a16="http://schemas.microsoft.com/office/drawing/2014/main" id="{F0F940A8-6EFD-1F43-96AD-AAC98C292E1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45" b="6269"/>
          <a:stretch/>
        </p:blipFill>
        <p:spPr>
          <a:xfrm>
            <a:off x="0" y="-12389"/>
            <a:ext cx="12225382" cy="6858000"/>
          </a:xfrm>
          <a:prstGeom prst="rect">
            <a:avLst/>
          </a:prstGeom>
        </p:spPr>
      </p:pic>
      <p:sp>
        <p:nvSpPr>
          <p:cNvPr id="2" name="Titel 1">
            <a:extLst>
              <a:ext uri="{FF2B5EF4-FFF2-40B4-BE49-F238E27FC236}">
                <a16:creationId xmlns:a16="http://schemas.microsoft.com/office/drawing/2014/main" id="{095B124A-DA0F-8E4A-88C4-F1EA7DEB11AF}"/>
              </a:ext>
            </a:extLst>
          </p:cNvPr>
          <p:cNvSpPr>
            <a:spLocks noGrp="1"/>
          </p:cNvSpPr>
          <p:nvPr>
            <p:ph type="title"/>
          </p:nvPr>
        </p:nvSpPr>
        <p:spPr/>
        <p:txBody>
          <a:bodyPr/>
          <a:lstStyle>
            <a:lvl1pPr>
              <a:defRPr>
                <a:solidFill>
                  <a:schemeClr val="accent2"/>
                </a:solidFill>
              </a:defRPr>
            </a:lvl1pPr>
          </a:lstStyle>
          <a:p>
            <a:r>
              <a:rPr lang="da-DK" dirty="0"/>
              <a:t>Klik for at redigere titeltypografien i masteren</a:t>
            </a:r>
          </a:p>
        </p:txBody>
      </p:sp>
      <p:pic>
        <p:nvPicPr>
          <p:cNvPr id="5" name="Logo">
            <a:extLst>
              <a:ext uri="{FF2B5EF4-FFF2-40B4-BE49-F238E27FC236}">
                <a16:creationId xmlns:a16="http://schemas.microsoft.com/office/drawing/2014/main" id="{8D39025D-A558-644B-9762-D1A96650AC8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90152727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grpSp>
        <p:nvGrpSpPr>
          <p:cNvPr id="4" name="Gruppe 3">
            <a:extLst>
              <a:ext uri="{FF2B5EF4-FFF2-40B4-BE49-F238E27FC236}">
                <a16:creationId xmlns:a16="http://schemas.microsoft.com/office/drawing/2014/main" id="{A36DACE9-28A7-CA4B-BAC5-0DDE4C22DF07}"/>
              </a:ext>
            </a:extLst>
          </p:cNvPr>
          <p:cNvGrpSpPr/>
          <p:nvPr userDrawn="1"/>
        </p:nvGrpSpPr>
        <p:grpSpPr>
          <a:xfrm>
            <a:off x="4817334" y="-6300"/>
            <a:ext cx="7387918" cy="6877552"/>
            <a:chOff x="2412117" y="-551641"/>
            <a:chExt cx="9832793" cy="9153530"/>
          </a:xfrm>
        </p:grpSpPr>
        <p:sp>
          <p:nvSpPr>
            <p:cNvPr id="5" name="object 2">
              <a:extLst>
                <a:ext uri="{FF2B5EF4-FFF2-40B4-BE49-F238E27FC236}">
                  <a16:creationId xmlns:a16="http://schemas.microsoft.com/office/drawing/2014/main" id="{BDAD4CCD-1323-DE4A-9706-AB8EB0211E45}"/>
                </a:ext>
              </a:extLst>
            </p:cNvPr>
            <p:cNvSpPr/>
            <p:nvPr/>
          </p:nvSpPr>
          <p:spPr>
            <a:xfrm>
              <a:off x="2412117" y="-551641"/>
              <a:ext cx="9176448" cy="3841055"/>
            </a:xfrm>
            <a:custGeom>
              <a:avLst/>
              <a:gdLst/>
              <a:ahLst/>
              <a:cxnLst/>
              <a:rect l="l" t="t" r="r" b="b"/>
              <a:pathLst>
                <a:path w="7588250" h="3176270">
                  <a:moveTo>
                    <a:pt x="7587654" y="0"/>
                  </a:moveTo>
                  <a:lnTo>
                    <a:pt x="0" y="0"/>
                  </a:lnTo>
                  <a:lnTo>
                    <a:pt x="2686804" y="2175872"/>
                  </a:lnTo>
                  <a:lnTo>
                    <a:pt x="2726077" y="2206647"/>
                  </a:lnTo>
                  <a:lnTo>
                    <a:pt x="2765622" y="2236955"/>
                  </a:lnTo>
                  <a:lnTo>
                    <a:pt x="2805433" y="2266794"/>
                  </a:lnTo>
                  <a:lnTo>
                    <a:pt x="2845508" y="2296164"/>
                  </a:lnTo>
                  <a:lnTo>
                    <a:pt x="2885841" y="2325065"/>
                  </a:lnTo>
                  <a:lnTo>
                    <a:pt x="2926430" y="2353495"/>
                  </a:lnTo>
                  <a:lnTo>
                    <a:pt x="2967270" y="2381454"/>
                  </a:lnTo>
                  <a:lnTo>
                    <a:pt x="3008356" y="2408942"/>
                  </a:lnTo>
                  <a:lnTo>
                    <a:pt x="3049685" y="2435958"/>
                  </a:lnTo>
                  <a:lnTo>
                    <a:pt x="3091254" y="2462501"/>
                  </a:lnTo>
                  <a:lnTo>
                    <a:pt x="3133057" y="2488570"/>
                  </a:lnTo>
                  <a:lnTo>
                    <a:pt x="3175090" y="2514165"/>
                  </a:lnTo>
                  <a:lnTo>
                    <a:pt x="3217351" y="2539286"/>
                  </a:lnTo>
                  <a:lnTo>
                    <a:pt x="3259834" y="2563931"/>
                  </a:lnTo>
                  <a:lnTo>
                    <a:pt x="3302536" y="2588100"/>
                  </a:lnTo>
                  <a:lnTo>
                    <a:pt x="3345452" y="2611792"/>
                  </a:lnTo>
                  <a:lnTo>
                    <a:pt x="3388579" y="2635007"/>
                  </a:lnTo>
                  <a:lnTo>
                    <a:pt x="3431913" y="2657744"/>
                  </a:lnTo>
                  <a:lnTo>
                    <a:pt x="3475449" y="2680003"/>
                  </a:lnTo>
                  <a:lnTo>
                    <a:pt x="3519183" y="2701782"/>
                  </a:lnTo>
                  <a:lnTo>
                    <a:pt x="3563112" y="2723082"/>
                  </a:lnTo>
                  <a:lnTo>
                    <a:pt x="3607231" y="2743901"/>
                  </a:lnTo>
                  <a:lnTo>
                    <a:pt x="3651537" y="2764238"/>
                  </a:lnTo>
                  <a:lnTo>
                    <a:pt x="3696025" y="2784094"/>
                  </a:lnTo>
                  <a:lnTo>
                    <a:pt x="3740691" y="2803468"/>
                  </a:lnTo>
                  <a:lnTo>
                    <a:pt x="3785531" y="2822358"/>
                  </a:lnTo>
                  <a:lnTo>
                    <a:pt x="3830542" y="2840765"/>
                  </a:lnTo>
                  <a:lnTo>
                    <a:pt x="3875718" y="2858688"/>
                  </a:lnTo>
                  <a:lnTo>
                    <a:pt x="3921057" y="2876125"/>
                  </a:lnTo>
                  <a:lnTo>
                    <a:pt x="3966554" y="2893077"/>
                  </a:lnTo>
                  <a:lnTo>
                    <a:pt x="4012205" y="2909543"/>
                  </a:lnTo>
                  <a:lnTo>
                    <a:pt x="4058005" y="2925521"/>
                  </a:lnTo>
                  <a:lnTo>
                    <a:pt x="4103952" y="2941012"/>
                  </a:lnTo>
                  <a:lnTo>
                    <a:pt x="4150040" y="2956015"/>
                  </a:lnTo>
                  <a:lnTo>
                    <a:pt x="4196267" y="2970529"/>
                  </a:lnTo>
                  <a:lnTo>
                    <a:pt x="4242627" y="2984554"/>
                  </a:lnTo>
                  <a:lnTo>
                    <a:pt x="4289117" y="2998089"/>
                  </a:lnTo>
                  <a:lnTo>
                    <a:pt x="4335733" y="3011133"/>
                  </a:lnTo>
                  <a:lnTo>
                    <a:pt x="4382470" y="3023685"/>
                  </a:lnTo>
                  <a:lnTo>
                    <a:pt x="4429325" y="3035745"/>
                  </a:lnTo>
                  <a:lnTo>
                    <a:pt x="4476294" y="3047313"/>
                  </a:lnTo>
                  <a:lnTo>
                    <a:pt x="4523372" y="3058388"/>
                  </a:lnTo>
                  <a:lnTo>
                    <a:pt x="4570556" y="3068968"/>
                  </a:lnTo>
                  <a:lnTo>
                    <a:pt x="4617841" y="3079054"/>
                  </a:lnTo>
                  <a:lnTo>
                    <a:pt x="4665224" y="3088645"/>
                  </a:lnTo>
                  <a:lnTo>
                    <a:pt x="4712700" y="3097740"/>
                  </a:lnTo>
                  <a:lnTo>
                    <a:pt x="4760266" y="3106338"/>
                  </a:lnTo>
                  <a:lnTo>
                    <a:pt x="4807917" y="3114440"/>
                  </a:lnTo>
                  <a:lnTo>
                    <a:pt x="4855649" y="3122043"/>
                  </a:lnTo>
                  <a:lnTo>
                    <a:pt x="4903458" y="3129148"/>
                  </a:lnTo>
                  <a:lnTo>
                    <a:pt x="4951341" y="3135754"/>
                  </a:lnTo>
                  <a:lnTo>
                    <a:pt x="4999293" y="3141861"/>
                  </a:lnTo>
                  <a:lnTo>
                    <a:pt x="5047310" y="3147467"/>
                  </a:lnTo>
                  <a:lnTo>
                    <a:pt x="5095388" y="3152572"/>
                  </a:lnTo>
                  <a:lnTo>
                    <a:pt x="5143523" y="3157175"/>
                  </a:lnTo>
                  <a:lnTo>
                    <a:pt x="5191711" y="3161276"/>
                  </a:lnTo>
                  <a:lnTo>
                    <a:pt x="5239948" y="3164875"/>
                  </a:lnTo>
                  <a:lnTo>
                    <a:pt x="5288230" y="3167969"/>
                  </a:lnTo>
                  <a:lnTo>
                    <a:pt x="5336553" y="3170560"/>
                  </a:lnTo>
                  <a:lnTo>
                    <a:pt x="5384913" y="3172646"/>
                  </a:lnTo>
                  <a:lnTo>
                    <a:pt x="5433306" y="3174226"/>
                  </a:lnTo>
                  <a:lnTo>
                    <a:pt x="5481727" y="3175300"/>
                  </a:lnTo>
                  <a:lnTo>
                    <a:pt x="5530173" y="3175868"/>
                  </a:lnTo>
                  <a:lnTo>
                    <a:pt x="5578640" y="3175928"/>
                  </a:lnTo>
                  <a:lnTo>
                    <a:pt x="5627124" y="3175480"/>
                  </a:lnTo>
                  <a:lnTo>
                    <a:pt x="5675620" y="3174524"/>
                  </a:lnTo>
                  <a:lnTo>
                    <a:pt x="5724125" y="3173058"/>
                  </a:lnTo>
                  <a:lnTo>
                    <a:pt x="5772634" y="3171082"/>
                  </a:lnTo>
                  <a:lnTo>
                    <a:pt x="5821144" y="3168596"/>
                  </a:lnTo>
                  <a:lnTo>
                    <a:pt x="5869650" y="3165599"/>
                  </a:lnTo>
                  <a:lnTo>
                    <a:pt x="5918149" y="3162089"/>
                  </a:lnTo>
                  <a:lnTo>
                    <a:pt x="5966636" y="3158068"/>
                  </a:lnTo>
                  <a:lnTo>
                    <a:pt x="6015107" y="3153533"/>
                  </a:lnTo>
                  <a:lnTo>
                    <a:pt x="6063559" y="3148484"/>
                  </a:lnTo>
                  <a:lnTo>
                    <a:pt x="6111987" y="3142921"/>
                  </a:lnTo>
                  <a:lnTo>
                    <a:pt x="6160387" y="3136843"/>
                  </a:lnTo>
                  <a:lnTo>
                    <a:pt x="6208756" y="3130249"/>
                  </a:lnTo>
                  <a:lnTo>
                    <a:pt x="6257088" y="3123139"/>
                  </a:lnTo>
                  <a:lnTo>
                    <a:pt x="6305381" y="3115512"/>
                  </a:lnTo>
                  <a:lnTo>
                    <a:pt x="6353630" y="3107367"/>
                  </a:lnTo>
                  <a:lnTo>
                    <a:pt x="6401831" y="3098704"/>
                  </a:lnTo>
                  <a:lnTo>
                    <a:pt x="6449979" y="3089523"/>
                  </a:lnTo>
                  <a:lnTo>
                    <a:pt x="6498072" y="3079821"/>
                  </a:lnTo>
                  <a:lnTo>
                    <a:pt x="6546105" y="3069600"/>
                  </a:lnTo>
                  <a:lnTo>
                    <a:pt x="6594073" y="3058858"/>
                  </a:lnTo>
                  <a:lnTo>
                    <a:pt x="6641973" y="3047594"/>
                  </a:lnTo>
                  <a:lnTo>
                    <a:pt x="6689802" y="3035808"/>
                  </a:lnTo>
                  <a:lnTo>
                    <a:pt x="6737553" y="3023500"/>
                  </a:lnTo>
                  <a:lnTo>
                    <a:pt x="6785225" y="3010668"/>
                  </a:lnTo>
                  <a:lnTo>
                    <a:pt x="7587654" y="0"/>
                  </a:lnTo>
                  <a:close/>
                </a:path>
              </a:pathLst>
            </a:custGeom>
            <a:solidFill>
              <a:srgbClr val="3DBB95"/>
            </a:solidFill>
          </p:spPr>
          <p:txBody>
            <a:bodyPr wrap="square" lIns="0" tIns="0" rIns="0" bIns="0" rtlCol="0"/>
            <a:lstStyle/>
            <a:p>
              <a:endParaRPr dirty="0"/>
            </a:p>
          </p:txBody>
        </p:sp>
        <p:sp>
          <p:nvSpPr>
            <p:cNvPr id="6" name="object 3">
              <a:extLst>
                <a:ext uri="{FF2B5EF4-FFF2-40B4-BE49-F238E27FC236}">
                  <a16:creationId xmlns:a16="http://schemas.microsoft.com/office/drawing/2014/main" id="{A71CA30C-32DA-3E4B-A061-A0A3341475B7}"/>
                </a:ext>
              </a:extLst>
            </p:cNvPr>
            <p:cNvSpPr/>
            <p:nvPr/>
          </p:nvSpPr>
          <p:spPr>
            <a:xfrm>
              <a:off x="9068092" y="2472482"/>
              <a:ext cx="3176818" cy="6129407"/>
            </a:xfrm>
            <a:custGeom>
              <a:avLst/>
              <a:gdLst/>
              <a:ahLst/>
              <a:cxnLst/>
              <a:rect l="l" t="t" r="r" b="b"/>
              <a:pathLst>
                <a:path w="2626995" h="5068570">
                  <a:moveTo>
                    <a:pt x="2626641" y="0"/>
                  </a:moveTo>
                  <a:lnTo>
                    <a:pt x="1596874" y="394861"/>
                  </a:lnTo>
                  <a:lnTo>
                    <a:pt x="1549211" y="412255"/>
                  </a:lnTo>
                  <a:lnTo>
                    <a:pt x="1501430" y="429100"/>
                  </a:lnTo>
                  <a:lnTo>
                    <a:pt x="1453535" y="445398"/>
                  </a:lnTo>
                  <a:lnTo>
                    <a:pt x="1405533" y="461150"/>
                  </a:lnTo>
                  <a:lnTo>
                    <a:pt x="1357427" y="476358"/>
                  </a:lnTo>
                  <a:lnTo>
                    <a:pt x="1309222" y="491025"/>
                  </a:lnTo>
                  <a:lnTo>
                    <a:pt x="1260924" y="505150"/>
                  </a:lnTo>
                  <a:lnTo>
                    <a:pt x="1212537" y="518737"/>
                  </a:lnTo>
                  <a:lnTo>
                    <a:pt x="0" y="5068044"/>
                  </a:lnTo>
                  <a:lnTo>
                    <a:pt x="2626641" y="5068044"/>
                  </a:lnTo>
                  <a:lnTo>
                    <a:pt x="2626641" y="0"/>
                  </a:lnTo>
                  <a:close/>
                </a:path>
              </a:pathLst>
            </a:custGeom>
            <a:solidFill>
              <a:srgbClr val="C7DFF4"/>
            </a:solidFill>
          </p:spPr>
          <p:txBody>
            <a:bodyPr wrap="square" lIns="0" tIns="0" rIns="0" bIns="0" rtlCol="0"/>
            <a:lstStyle/>
            <a:p>
              <a:endParaRPr/>
            </a:p>
          </p:txBody>
        </p:sp>
        <p:sp>
          <p:nvSpPr>
            <p:cNvPr id="7" name="object 4">
              <a:extLst>
                <a:ext uri="{FF2B5EF4-FFF2-40B4-BE49-F238E27FC236}">
                  <a16:creationId xmlns:a16="http://schemas.microsoft.com/office/drawing/2014/main" id="{48F98DAD-1365-9445-92EB-2B069CF6E9DC}"/>
                </a:ext>
              </a:extLst>
            </p:cNvPr>
            <p:cNvSpPr/>
            <p:nvPr/>
          </p:nvSpPr>
          <p:spPr>
            <a:xfrm>
              <a:off x="10528236" y="-546565"/>
              <a:ext cx="1710121" cy="3641398"/>
            </a:xfrm>
            <a:custGeom>
              <a:avLst/>
              <a:gdLst/>
              <a:ahLst/>
              <a:cxnLst/>
              <a:rect l="l" t="t" r="r" b="b"/>
              <a:pathLst>
                <a:path w="1414145" h="3011170">
                  <a:moveTo>
                    <a:pt x="1414058" y="0"/>
                  </a:moveTo>
                  <a:lnTo>
                    <a:pt x="802427" y="0"/>
                  </a:lnTo>
                  <a:lnTo>
                    <a:pt x="0" y="3010637"/>
                  </a:lnTo>
                  <a:lnTo>
                    <a:pt x="48384" y="2997065"/>
                  </a:lnTo>
                  <a:lnTo>
                    <a:pt x="96676" y="2982951"/>
                  </a:lnTo>
                  <a:lnTo>
                    <a:pt x="144873" y="2968294"/>
                  </a:lnTo>
                  <a:lnTo>
                    <a:pt x="192969" y="2953092"/>
                  </a:lnTo>
                  <a:lnTo>
                    <a:pt x="240962" y="2937344"/>
                  </a:lnTo>
                  <a:lnTo>
                    <a:pt x="288848" y="2921048"/>
                  </a:lnTo>
                  <a:lnTo>
                    <a:pt x="336623" y="2904205"/>
                  </a:lnTo>
                  <a:lnTo>
                    <a:pt x="384283" y="2886811"/>
                  </a:lnTo>
                  <a:lnTo>
                    <a:pt x="1414058" y="2491948"/>
                  </a:lnTo>
                  <a:lnTo>
                    <a:pt x="1414058" y="0"/>
                  </a:lnTo>
                  <a:close/>
                </a:path>
              </a:pathLst>
            </a:custGeom>
            <a:solidFill>
              <a:srgbClr val="4870B7"/>
            </a:solidFill>
          </p:spPr>
          <p:txBody>
            <a:bodyPr wrap="square" lIns="0" tIns="0" rIns="0" bIns="0" rtlCol="0"/>
            <a:lstStyle/>
            <a:p>
              <a:endParaRPr dirty="0"/>
            </a:p>
          </p:txBody>
        </p:sp>
      </p:grpSp>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Tree>
    <p:extLst>
      <p:ext uri="{BB962C8B-B14F-4D97-AF65-F5344CB8AC3E}">
        <p14:creationId xmlns:p14="http://schemas.microsoft.com/office/powerpoint/2010/main" val="144927102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pic>
        <p:nvPicPr>
          <p:cNvPr id="3" name="Billede 2" descr="Et billede, der indeholder tegning&#10;&#10;Automatisk genereret beskrivelse">
            <a:extLst>
              <a:ext uri="{FF2B5EF4-FFF2-40B4-BE49-F238E27FC236}">
                <a16:creationId xmlns:a16="http://schemas.microsoft.com/office/drawing/2014/main" id="{99156580-0C4F-2B48-A0AE-C0A3B64B72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923661" y="0"/>
            <a:ext cx="5268339" cy="2823618"/>
          </a:xfrm>
          <a:prstGeom prst="rect">
            <a:avLst/>
          </a:prstGeom>
        </p:spPr>
      </p:pic>
      <p:pic>
        <p:nvPicPr>
          <p:cNvPr id="4" name="Billede 3" descr="Et billede, der indeholder bord&#10;&#10;Automatisk genereret beskrivelse">
            <a:extLst>
              <a:ext uri="{FF2B5EF4-FFF2-40B4-BE49-F238E27FC236}">
                <a16:creationId xmlns:a16="http://schemas.microsoft.com/office/drawing/2014/main" id="{106A42E5-D5F7-E84C-9C9A-4D337F14C18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095" y="1"/>
            <a:ext cx="1541689" cy="6858000"/>
          </a:xfrm>
          <a:prstGeom prst="rect">
            <a:avLst/>
          </a:prstGeom>
        </p:spPr>
      </p:pic>
      <p:sp>
        <p:nvSpPr>
          <p:cNvPr id="2" name="Titel 1">
            <a:extLst>
              <a:ext uri="{FF2B5EF4-FFF2-40B4-BE49-F238E27FC236}">
                <a16:creationId xmlns:a16="http://schemas.microsoft.com/office/drawing/2014/main" id="{DCE08DC8-3E67-DC47-A7DC-AE25DA997A6B}"/>
              </a:ext>
            </a:extLst>
          </p:cNvPr>
          <p:cNvSpPr>
            <a:spLocks noGrp="1"/>
          </p:cNvSpPr>
          <p:nvPr>
            <p:ph type="title"/>
          </p:nvPr>
        </p:nvSpPr>
        <p:spPr/>
        <p:txBody>
          <a:bodyPr/>
          <a:lstStyle/>
          <a:p>
            <a:r>
              <a:rPr lang="da-DK" dirty="0"/>
              <a:t>Klik for at redigere titeltypografien i masteren</a:t>
            </a:r>
          </a:p>
        </p:txBody>
      </p:sp>
    </p:spTree>
    <p:extLst>
      <p:ext uri="{BB962C8B-B14F-4D97-AF65-F5344CB8AC3E}">
        <p14:creationId xmlns:p14="http://schemas.microsoft.com/office/powerpoint/2010/main" val="105919098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grpSp>
        <p:nvGrpSpPr>
          <p:cNvPr id="3" name="Gruppe 2">
            <a:extLst>
              <a:ext uri="{FF2B5EF4-FFF2-40B4-BE49-F238E27FC236}">
                <a16:creationId xmlns:a16="http://schemas.microsoft.com/office/drawing/2014/main" id="{6F51EA7C-6ADF-3647-A454-21032FDC66BC}"/>
              </a:ext>
            </a:extLst>
          </p:cNvPr>
          <p:cNvGrpSpPr/>
          <p:nvPr userDrawn="1"/>
        </p:nvGrpSpPr>
        <p:grpSpPr>
          <a:xfrm>
            <a:off x="-9586" y="322"/>
            <a:ext cx="12209906" cy="6857678"/>
            <a:chOff x="-876691" y="-3538499"/>
            <a:chExt cx="13684716" cy="9741942"/>
          </a:xfrm>
        </p:grpSpPr>
        <p:grpSp>
          <p:nvGrpSpPr>
            <p:cNvPr id="4" name="Gruppe 3">
              <a:extLst>
                <a:ext uri="{FF2B5EF4-FFF2-40B4-BE49-F238E27FC236}">
                  <a16:creationId xmlns:a16="http://schemas.microsoft.com/office/drawing/2014/main" id="{1C487C1A-B7B8-D149-AB9A-6242EE358255}"/>
                </a:ext>
              </a:extLst>
            </p:cNvPr>
            <p:cNvGrpSpPr/>
            <p:nvPr/>
          </p:nvGrpSpPr>
          <p:grpSpPr>
            <a:xfrm>
              <a:off x="-876691" y="-3537401"/>
              <a:ext cx="13684716" cy="9740844"/>
              <a:chOff x="-625975" y="-3537401"/>
              <a:chExt cx="13684716" cy="9740844"/>
            </a:xfrm>
          </p:grpSpPr>
          <p:sp>
            <p:nvSpPr>
              <p:cNvPr id="6" name="object 2">
                <a:extLst>
                  <a:ext uri="{FF2B5EF4-FFF2-40B4-BE49-F238E27FC236}">
                    <a16:creationId xmlns:a16="http://schemas.microsoft.com/office/drawing/2014/main" id="{2CC48D7D-E654-0B4F-A67F-A24E2EC6B8AB}"/>
                  </a:ext>
                </a:extLst>
              </p:cNvPr>
              <p:cNvSpPr/>
              <p:nvPr/>
            </p:nvSpPr>
            <p:spPr>
              <a:xfrm>
                <a:off x="-625975" y="-3537401"/>
                <a:ext cx="6864058" cy="8788874"/>
              </a:xfrm>
              <a:custGeom>
                <a:avLst/>
                <a:gdLst/>
                <a:ahLst/>
                <a:cxnLst/>
                <a:rect l="l" t="t" r="r" b="b"/>
                <a:pathLst>
                  <a:path w="5328285" h="6822440">
                    <a:moveTo>
                      <a:pt x="5328005" y="0"/>
                    </a:moveTo>
                    <a:lnTo>
                      <a:pt x="0" y="0"/>
                    </a:lnTo>
                    <a:lnTo>
                      <a:pt x="0" y="5996938"/>
                    </a:lnTo>
                    <a:lnTo>
                      <a:pt x="3114167" y="6707445"/>
                    </a:lnTo>
                    <a:lnTo>
                      <a:pt x="3164824" y="6718191"/>
                    </a:lnTo>
                    <a:lnTo>
                      <a:pt x="3215478" y="6728395"/>
                    </a:lnTo>
                    <a:lnTo>
                      <a:pt x="3266125" y="6738061"/>
                    </a:lnTo>
                    <a:lnTo>
                      <a:pt x="3316763" y="6747189"/>
                    </a:lnTo>
                    <a:lnTo>
                      <a:pt x="3367388" y="6755782"/>
                    </a:lnTo>
                    <a:lnTo>
                      <a:pt x="3417998" y="6763841"/>
                    </a:lnTo>
                    <a:lnTo>
                      <a:pt x="3468590" y="6771369"/>
                    </a:lnTo>
                    <a:lnTo>
                      <a:pt x="3519159" y="6778368"/>
                    </a:lnTo>
                    <a:lnTo>
                      <a:pt x="3569703" y="6784839"/>
                    </a:lnTo>
                    <a:lnTo>
                      <a:pt x="3620220" y="6790784"/>
                    </a:lnTo>
                    <a:lnTo>
                      <a:pt x="3670705" y="6796206"/>
                    </a:lnTo>
                    <a:lnTo>
                      <a:pt x="3721157" y="6801106"/>
                    </a:lnTo>
                    <a:lnTo>
                      <a:pt x="3771571" y="6805487"/>
                    </a:lnTo>
                    <a:lnTo>
                      <a:pt x="3821944" y="6809349"/>
                    </a:lnTo>
                    <a:lnTo>
                      <a:pt x="3872274" y="6812696"/>
                    </a:lnTo>
                    <a:lnTo>
                      <a:pt x="3922558" y="6815529"/>
                    </a:lnTo>
                    <a:lnTo>
                      <a:pt x="3972792" y="6817850"/>
                    </a:lnTo>
                    <a:lnTo>
                      <a:pt x="4022973" y="6819661"/>
                    </a:lnTo>
                    <a:lnTo>
                      <a:pt x="4073098" y="6820964"/>
                    </a:lnTo>
                    <a:lnTo>
                      <a:pt x="4123164" y="6821760"/>
                    </a:lnTo>
                    <a:lnTo>
                      <a:pt x="4173169" y="6822053"/>
                    </a:lnTo>
                    <a:lnTo>
                      <a:pt x="4223108" y="6821844"/>
                    </a:lnTo>
                    <a:lnTo>
                      <a:pt x="4272979" y="6821134"/>
                    </a:lnTo>
                    <a:lnTo>
                      <a:pt x="4322778" y="6819926"/>
                    </a:lnTo>
                    <a:lnTo>
                      <a:pt x="4372503" y="6818222"/>
                    </a:lnTo>
                    <a:lnTo>
                      <a:pt x="4422151" y="6816023"/>
                    </a:lnTo>
                    <a:lnTo>
                      <a:pt x="4471717" y="6813332"/>
                    </a:lnTo>
                    <a:lnTo>
                      <a:pt x="4521200" y="6810151"/>
                    </a:lnTo>
                    <a:lnTo>
                      <a:pt x="4570597" y="6806481"/>
                    </a:lnTo>
                    <a:lnTo>
                      <a:pt x="4619903" y="6802324"/>
                    </a:lnTo>
                    <a:lnTo>
                      <a:pt x="4669116" y="6797683"/>
                    </a:lnTo>
                    <a:lnTo>
                      <a:pt x="4718233" y="6792559"/>
                    </a:lnTo>
                    <a:lnTo>
                      <a:pt x="4767251" y="6786955"/>
                    </a:lnTo>
                    <a:lnTo>
                      <a:pt x="4816167" y="6780871"/>
                    </a:lnTo>
                    <a:lnTo>
                      <a:pt x="4864977" y="6774311"/>
                    </a:lnTo>
                    <a:lnTo>
                      <a:pt x="4913679" y="6767276"/>
                    </a:lnTo>
                    <a:lnTo>
                      <a:pt x="4962269" y="6759768"/>
                    </a:lnTo>
                    <a:lnTo>
                      <a:pt x="5010744" y="6751789"/>
                    </a:lnTo>
                    <a:lnTo>
                      <a:pt x="5059101" y="6743341"/>
                    </a:lnTo>
                    <a:lnTo>
                      <a:pt x="5107338" y="6734426"/>
                    </a:lnTo>
                    <a:lnTo>
                      <a:pt x="5155450" y="6725046"/>
                    </a:lnTo>
                    <a:lnTo>
                      <a:pt x="5203436" y="6715203"/>
                    </a:lnTo>
                    <a:lnTo>
                      <a:pt x="5251291" y="6704899"/>
                    </a:lnTo>
                    <a:lnTo>
                      <a:pt x="5299013" y="6694135"/>
                    </a:lnTo>
                    <a:lnTo>
                      <a:pt x="5328005" y="6687299"/>
                    </a:lnTo>
                    <a:lnTo>
                      <a:pt x="5328005" y="0"/>
                    </a:lnTo>
                    <a:close/>
                  </a:path>
                </a:pathLst>
              </a:custGeom>
              <a:solidFill>
                <a:srgbClr val="C7DFF4"/>
              </a:solidFill>
            </p:spPr>
            <p:txBody>
              <a:bodyPr wrap="square" lIns="0" tIns="0" rIns="0" bIns="0" rtlCol="0"/>
              <a:lstStyle/>
              <a:p>
                <a:endParaRPr/>
              </a:p>
            </p:txBody>
          </p:sp>
          <p:sp>
            <p:nvSpPr>
              <p:cNvPr id="7" name="object 3">
                <a:extLst>
                  <a:ext uri="{FF2B5EF4-FFF2-40B4-BE49-F238E27FC236}">
                    <a16:creationId xmlns:a16="http://schemas.microsoft.com/office/drawing/2014/main" id="{708F787B-A066-E74D-B438-BCC7F81D2212}"/>
                  </a:ext>
                </a:extLst>
              </p:cNvPr>
              <p:cNvSpPr/>
              <p:nvPr/>
            </p:nvSpPr>
            <p:spPr>
              <a:xfrm>
                <a:off x="6238083" y="-3537401"/>
                <a:ext cx="2584963" cy="8615453"/>
              </a:xfrm>
              <a:custGeom>
                <a:avLst/>
                <a:gdLst/>
                <a:ahLst/>
                <a:cxnLst/>
                <a:rect l="l" t="t" r="r" b="b"/>
                <a:pathLst>
                  <a:path w="2006600" h="6687820">
                    <a:moveTo>
                      <a:pt x="984216" y="0"/>
                    </a:moveTo>
                    <a:lnTo>
                      <a:pt x="0" y="0"/>
                    </a:lnTo>
                    <a:lnTo>
                      <a:pt x="0" y="6687300"/>
                    </a:lnTo>
                    <a:lnTo>
                      <a:pt x="66043" y="6671238"/>
                    </a:lnTo>
                    <a:lnTo>
                      <a:pt x="113346" y="6659108"/>
                    </a:lnTo>
                    <a:lnTo>
                      <a:pt x="160504" y="6646527"/>
                    </a:lnTo>
                    <a:lnTo>
                      <a:pt x="207513" y="6633497"/>
                    </a:lnTo>
                    <a:lnTo>
                      <a:pt x="254370" y="6620018"/>
                    </a:lnTo>
                    <a:lnTo>
                      <a:pt x="301072" y="6606095"/>
                    </a:lnTo>
                    <a:lnTo>
                      <a:pt x="347616" y="6591727"/>
                    </a:lnTo>
                    <a:lnTo>
                      <a:pt x="393999" y="6576918"/>
                    </a:lnTo>
                    <a:lnTo>
                      <a:pt x="440217" y="6561669"/>
                    </a:lnTo>
                    <a:lnTo>
                      <a:pt x="486269" y="6545982"/>
                    </a:lnTo>
                    <a:lnTo>
                      <a:pt x="532149" y="6529860"/>
                    </a:lnTo>
                    <a:lnTo>
                      <a:pt x="577856" y="6513304"/>
                    </a:lnTo>
                    <a:lnTo>
                      <a:pt x="623387" y="6496315"/>
                    </a:lnTo>
                    <a:lnTo>
                      <a:pt x="668737" y="6478897"/>
                    </a:lnTo>
                    <a:lnTo>
                      <a:pt x="713905" y="6461051"/>
                    </a:lnTo>
                    <a:lnTo>
                      <a:pt x="758887" y="6442778"/>
                    </a:lnTo>
                    <a:lnTo>
                      <a:pt x="803680" y="6424082"/>
                    </a:lnTo>
                    <a:lnTo>
                      <a:pt x="848280" y="6404963"/>
                    </a:lnTo>
                    <a:lnTo>
                      <a:pt x="892686" y="6385424"/>
                    </a:lnTo>
                    <a:lnTo>
                      <a:pt x="936893" y="6365467"/>
                    </a:lnTo>
                    <a:lnTo>
                      <a:pt x="980898" y="6345093"/>
                    </a:lnTo>
                    <a:lnTo>
                      <a:pt x="1024699" y="6324305"/>
                    </a:lnTo>
                    <a:lnTo>
                      <a:pt x="1068293" y="6303105"/>
                    </a:lnTo>
                    <a:lnTo>
                      <a:pt x="1111675" y="6281494"/>
                    </a:lnTo>
                    <a:lnTo>
                      <a:pt x="1154844" y="6259474"/>
                    </a:lnTo>
                    <a:lnTo>
                      <a:pt x="1197796" y="6237048"/>
                    </a:lnTo>
                    <a:lnTo>
                      <a:pt x="1240528" y="6214218"/>
                    </a:lnTo>
                    <a:lnTo>
                      <a:pt x="1283036" y="6190985"/>
                    </a:lnTo>
                    <a:lnTo>
                      <a:pt x="1325319" y="6167351"/>
                    </a:lnTo>
                    <a:lnTo>
                      <a:pt x="1367372" y="6143318"/>
                    </a:lnTo>
                    <a:lnTo>
                      <a:pt x="1409193" y="6118888"/>
                    </a:lnTo>
                    <a:lnTo>
                      <a:pt x="1450778" y="6094064"/>
                    </a:lnTo>
                    <a:lnTo>
                      <a:pt x="1492124" y="6068846"/>
                    </a:lnTo>
                    <a:lnTo>
                      <a:pt x="1533229" y="6043238"/>
                    </a:lnTo>
                    <a:lnTo>
                      <a:pt x="1574089" y="6017241"/>
                    </a:lnTo>
                    <a:lnTo>
                      <a:pt x="1614701" y="5990856"/>
                    </a:lnTo>
                    <a:lnTo>
                      <a:pt x="1655062" y="5964087"/>
                    </a:lnTo>
                    <a:lnTo>
                      <a:pt x="1695169" y="5936934"/>
                    </a:lnTo>
                    <a:lnTo>
                      <a:pt x="1735019" y="5909400"/>
                    </a:lnTo>
                    <a:lnTo>
                      <a:pt x="1774609" y="5881487"/>
                    </a:lnTo>
                    <a:lnTo>
                      <a:pt x="1813935" y="5853196"/>
                    </a:lnTo>
                    <a:lnTo>
                      <a:pt x="1852994" y="5824531"/>
                    </a:lnTo>
                    <a:lnTo>
                      <a:pt x="1891784" y="5795491"/>
                    </a:lnTo>
                    <a:lnTo>
                      <a:pt x="1930302" y="5766081"/>
                    </a:lnTo>
                    <a:lnTo>
                      <a:pt x="1968543" y="5736300"/>
                    </a:lnTo>
                    <a:lnTo>
                      <a:pt x="2006506" y="5706153"/>
                    </a:lnTo>
                    <a:lnTo>
                      <a:pt x="961893" y="1972911"/>
                    </a:lnTo>
                    <a:lnTo>
                      <a:pt x="949418" y="1927205"/>
                    </a:lnTo>
                    <a:lnTo>
                      <a:pt x="937580" y="1881542"/>
                    </a:lnTo>
                    <a:lnTo>
                      <a:pt x="926375" y="1835924"/>
                    </a:lnTo>
                    <a:lnTo>
                      <a:pt x="915799" y="1790356"/>
                    </a:lnTo>
                    <a:lnTo>
                      <a:pt x="905850" y="1744841"/>
                    </a:lnTo>
                    <a:lnTo>
                      <a:pt x="896523" y="1699383"/>
                    </a:lnTo>
                    <a:lnTo>
                      <a:pt x="887816" y="1653984"/>
                    </a:lnTo>
                    <a:lnTo>
                      <a:pt x="879724" y="1608650"/>
                    </a:lnTo>
                    <a:lnTo>
                      <a:pt x="872245" y="1563382"/>
                    </a:lnTo>
                    <a:lnTo>
                      <a:pt x="865374" y="1518185"/>
                    </a:lnTo>
                    <a:lnTo>
                      <a:pt x="859109" y="1473063"/>
                    </a:lnTo>
                    <a:lnTo>
                      <a:pt x="853445" y="1428018"/>
                    </a:lnTo>
                    <a:lnTo>
                      <a:pt x="848381" y="1383055"/>
                    </a:lnTo>
                    <a:lnTo>
                      <a:pt x="843911" y="1338176"/>
                    </a:lnTo>
                    <a:lnTo>
                      <a:pt x="840032" y="1293386"/>
                    </a:lnTo>
                    <a:lnTo>
                      <a:pt x="836742" y="1248688"/>
                    </a:lnTo>
                    <a:lnTo>
                      <a:pt x="834036" y="1204085"/>
                    </a:lnTo>
                    <a:lnTo>
                      <a:pt x="831912" y="1159581"/>
                    </a:lnTo>
                    <a:lnTo>
                      <a:pt x="830365" y="1115180"/>
                    </a:lnTo>
                    <a:lnTo>
                      <a:pt x="829392" y="1070885"/>
                    </a:lnTo>
                    <a:lnTo>
                      <a:pt x="828990" y="1026699"/>
                    </a:lnTo>
                    <a:lnTo>
                      <a:pt x="829156" y="982627"/>
                    </a:lnTo>
                    <a:lnTo>
                      <a:pt x="829885" y="938671"/>
                    </a:lnTo>
                    <a:lnTo>
                      <a:pt x="831175" y="894836"/>
                    </a:lnTo>
                    <a:lnTo>
                      <a:pt x="833021" y="851124"/>
                    </a:lnTo>
                    <a:lnTo>
                      <a:pt x="835421" y="807539"/>
                    </a:lnTo>
                    <a:lnTo>
                      <a:pt x="838372" y="764086"/>
                    </a:lnTo>
                    <a:lnTo>
                      <a:pt x="841868" y="720767"/>
                    </a:lnTo>
                    <a:lnTo>
                      <a:pt x="845908" y="677585"/>
                    </a:lnTo>
                    <a:lnTo>
                      <a:pt x="850488" y="634545"/>
                    </a:lnTo>
                    <a:lnTo>
                      <a:pt x="855603" y="591650"/>
                    </a:lnTo>
                    <a:lnTo>
                      <a:pt x="861252" y="548904"/>
                    </a:lnTo>
                    <a:lnTo>
                      <a:pt x="867429" y="506310"/>
                    </a:lnTo>
                    <a:lnTo>
                      <a:pt x="874133" y="463871"/>
                    </a:lnTo>
                    <a:lnTo>
                      <a:pt x="881358" y="421591"/>
                    </a:lnTo>
                    <a:lnTo>
                      <a:pt x="889103" y="379474"/>
                    </a:lnTo>
                    <a:lnTo>
                      <a:pt x="897363" y="337523"/>
                    </a:lnTo>
                    <a:lnTo>
                      <a:pt x="906135" y="295742"/>
                    </a:lnTo>
                    <a:lnTo>
                      <a:pt x="915416" y="254134"/>
                    </a:lnTo>
                    <a:lnTo>
                      <a:pt x="925201" y="212703"/>
                    </a:lnTo>
                    <a:lnTo>
                      <a:pt x="935488" y="171453"/>
                    </a:lnTo>
                    <a:lnTo>
                      <a:pt x="946274" y="130386"/>
                    </a:lnTo>
                    <a:lnTo>
                      <a:pt x="957554" y="89506"/>
                    </a:lnTo>
                    <a:lnTo>
                      <a:pt x="969325" y="48818"/>
                    </a:lnTo>
                    <a:lnTo>
                      <a:pt x="981584" y="8324"/>
                    </a:lnTo>
                    <a:lnTo>
                      <a:pt x="984216" y="0"/>
                    </a:lnTo>
                    <a:close/>
                  </a:path>
                </a:pathLst>
              </a:custGeom>
              <a:solidFill>
                <a:srgbClr val="C7DFF4"/>
              </a:solidFill>
            </p:spPr>
            <p:txBody>
              <a:bodyPr wrap="square" lIns="0" tIns="0" rIns="0" bIns="0" rtlCol="0"/>
              <a:lstStyle/>
              <a:p>
                <a:endParaRPr/>
              </a:p>
            </p:txBody>
          </p:sp>
          <p:sp>
            <p:nvSpPr>
              <p:cNvPr id="8" name="object 4">
                <a:extLst>
                  <a:ext uri="{FF2B5EF4-FFF2-40B4-BE49-F238E27FC236}">
                    <a16:creationId xmlns:a16="http://schemas.microsoft.com/office/drawing/2014/main" id="{F135D878-6C02-1B4F-904F-EFE950B00018}"/>
                  </a:ext>
                </a:extLst>
              </p:cNvPr>
              <p:cNvSpPr/>
              <p:nvPr/>
            </p:nvSpPr>
            <p:spPr>
              <a:xfrm>
                <a:off x="8779647" y="-3535976"/>
                <a:ext cx="4279094" cy="9739419"/>
              </a:xfrm>
              <a:custGeom>
                <a:avLst/>
                <a:gdLst/>
                <a:ahLst/>
                <a:cxnLst/>
                <a:rect l="l" t="t" r="r" b="b"/>
                <a:pathLst>
                  <a:path w="3321684" h="7560309">
                    <a:moveTo>
                      <a:pt x="3321456" y="0"/>
                    </a:moveTo>
                    <a:lnTo>
                      <a:pt x="2419261" y="0"/>
                    </a:lnTo>
                    <a:lnTo>
                      <a:pt x="1755203" y="2909580"/>
                    </a:lnTo>
                    <a:lnTo>
                      <a:pt x="1743248" y="2960732"/>
                    </a:lnTo>
                    <a:lnTo>
                      <a:pt x="1730792" y="3011644"/>
                    </a:lnTo>
                    <a:lnTo>
                      <a:pt x="1717838" y="3062311"/>
                    </a:lnTo>
                    <a:lnTo>
                      <a:pt x="1704389" y="3112733"/>
                    </a:lnTo>
                    <a:lnTo>
                      <a:pt x="1690448" y="3162908"/>
                    </a:lnTo>
                    <a:lnTo>
                      <a:pt x="1676019" y="3212832"/>
                    </a:lnTo>
                    <a:lnTo>
                      <a:pt x="1661104" y="3262505"/>
                    </a:lnTo>
                    <a:lnTo>
                      <a:pt x="1645707" y="3311925"/>
                    </a:lnTo>
                    <a:lnTo>
                      <a:pt x="1629832" y="3361088"/>
                    </a:lnTo>
                    <a:lnTo>
                      <a:pt x="1613481" y="3409994"/>
                    </a:lnTo>
                    <a:lnTo>
                      <a:pt x="1596657" y="3458640"/>
                    </a:lnTo>
                    <a:lnTo>
                      <a:pt x="1579364" y="3507025"/>
                    </a:lnTo>
                    <a:lnTo>
                      <a:pt x="1561606" y="3555145"/>
                    </a:lnTo>
                    <a:lnTo>
                      <a:pt x="1543384" y="3603000"/>
                    </a:lnTo>
                    <a:lnTo>
                      <a:pt x="1524704" y="3650588"/>
                    </a:lnTo>
                    <a:lnTo>
                      <a:pt x="1505567" y="3697905"/>
                    </a:lnTo>
                    <a:lnTo>
                      <a:pt x="1485976" y="3744950"/>
                    </a:lnTo>
                    <a:lnTo>
                      <a:pt x="1465936" y="3791722"/>
                    </a:lnTo>
                    <a:lnTo>
                      <a:pt x="1445450" y="3838218"/>
                    </a:lnTo>
                    <a:lnTo>
                      <a:pt x="1424520" y="3884436"/>
                    </a:lnTo>
                    <a:lnTo>
                      <a:pt x="1403150" y="3930374"/>
                    </a:lnTo>
                    <a:lnTo>
                      <a:pt x="1381342" y="3976030"/>
                    </a:lnTo>
                    <a:lnTo>
                      <a:pt x="1359101" y="4021403"/>
                    </a:lnTo>
                    <a:lnTo>
                      <a:pt x="1336430" y="4066489"/>
                    </a:lnTo>
                    <a:lnTo>
                      <a:pt x="1313331" y="4111287"/>
                    </a:lnTo>
                    <a:lnTo>
                      <a:pt x="1289809" y="4155796"/>
                    </a:lnTo>
                    <a:lnTo>
                      <a:pt x="1265865" y="4200013"/>
                    </a:lnTo>
                    <a:lnTo>
                      <a:pt x="1241504" y="4243935"/>
                    </a:lnTo>
                    <a:lnTo>
                      <a:pt x="1216728" y="4287562"/>
                    </a:lnTo>
                    <a:lnTo>
                      <a:pt x="1191541" y="4330891"/>
                    </a:lnTo>
                    <a:lnTo>
                      <a:pt x="1165946" y="4373919"/>
                    </a:lnTo>
                    <a:lnTo>
                      <a:pt x="1139947" y="4416646"/>
                    </a:lnTo>
                    <a:lnTo>
                      <a:pt x="1113546" y="4459068"/>
                    </a:lnTo>
                    <a:lnTo>
                      <a:pt x="1086746" y="4501185"/>
                    </a:lnTo>
                    <a:lnTo>
                      <a:pt x="1059552" y="4542993"/>
                    </a:lnTo>
                    <a:lnTo>
                      <a:pt x="1031966" y="4584491"/>
                    </a:lnTo>
                    <a:lnTo>
                      <a:pt x="1003991" y="4625678"/>
                    </a:lnTo>
                    <a:lnTo>
                      <a:pt x="975630" y="4666550"/>
                    </a:lnTo>
                    <a:lnTo>
                      <a:pt x="946888" y="4707106"/>
                    </a:lnTo>
                    <a:lnTo>
                      <a:pt x="917766" y="4747344"/>
                    </a:lnTo>
                    <a:lnTo>
                      <a:pt x="888269" y="4787261"/>
                    </a:lnTo>
                    <a:lnTo>
                      <a:pt x="858399" y="4826857"/>
                    </a:lnTo>
                    <a:lnTo>
                      <a:pt x="828160" y="4866128"/>
                    </a:lnTo>
                    <a:lnTo>
                      <a:pt x="797555" y="4905073"/>
                    </a:lnTo>
                    <a:lnTo>
                      <a:pt x="766586" y="4943690"/>
                    </a:lnTo>
                    <a:lnTo>
                      <a:pt x="735259" y="4981977"/>
                    </a:lnTo>
                    <a:lnTo>
                      <a:pt x="703574" y="5019931"/>
                    </a:lnTo>
                    <a:lnTo>
                      <a:pt x="671537" y="5057551"/>
                    </a:lnTo>
                    <a:lnTo>
                      <a:pt x="639150" y="5094835"/>
                    </a:lnTo>
                    <a:lnTo>
                      <a:pt x="606415" y="5131781"/>
                    </a:lnTo>
                    <a:lnTo>
                      <a:pt x="573338" y="5168386"/>
                    </a:lnTo>
                    <a:lnTo>
                      <a:pt x="539920" y="5204649"/>
                    </a:lnTo>
                    <a:lnTo>
                      <a:pt x="506164" y="5240567"/>
                    </a:lnTo>
                    <a:lnTo>
                      <a:pt x="472075" y="5276140"/>
                    </a:lnTo>
                    <a:lnTo>
                      <a:pt x="437656" y="5311364"/>
                    </a:lnTo>
                    <a:lnTo>
                      <a:pt x="402908" y="5346237"/>
                    </a:lnTo>
                    <a:lnTo>
                      <a:pt x="367837" y="5380758"/>
                    </a:lnTo>
                    <a:lnTo>
                      <a:pt x="332445" y="5414925"/>
                    </a:lnTo>
                    <a:lnTo>
                      <a:pt x="296734" y="5448735"/>
                    </a:lnTo>
                    <a:lnTo>
                      <a:pt x="260710" y="5482187"/>
                    </a:lnTo>
                    <a:lnTo>
                      <a:pt x="224374" y="5515279"/>
                    </a:lnTo>
                    <a:lnTo>
                      <a:pt x="187729" y="5548008"/>
                    </a:lnTo>
                    <a:lnTo>
                      <a:pt x="150780" y="5580372"/>
                    </a:lnTo>
                    <a:lnTo>
                      <a:pt x="113530" y="5612370"/>
                    </a:lnTo>
                    <a:lnTo>
                      <a:pt x="75980" y="5644000"/>
                    </a:lnTo>
                    <a:lnTo>
                      <a:pt x="38136" y="5675259"/>
                    </a:lnTo>
                    <a:lnTo>
                      <a:pt x="0" y="5706145"/>
                    </a:lnTo>
                    <a:lnTo>
                      <a:pt x="518724" y="7559992"/>
                    </a:lnTo>
                    <a:lnTo>
                      <a:pt x="3321456" y="7559992"/>
                    </a:lnTo>
                    <a:lnTo>
                      <a:pt x="3321456" y="0"/>
                    </a:lnTo>
                    <a:close/>
                  </a:path>
                </a:pathLst>
              </a:custGeom>
              <a:solidFill>
                <a:schemeClr val="accent3"/>
              </a:solidFill>
            </p:spPr>
            <p:txBody>
              <a:bodyPr wrap="square" lIns="0" tIns="0" rIns="0" bIns="0" rtlCol="0"/>
              <a:lstStyle/>
              <a:p>
                <a:endParaRPr dirty="0"/>
              </a:p>
            </p:txBody>
          </p:sp>
        </p:grpSp>
        <p:sp>
          <p:nvSpPr>
            <p:cNvPr id="5" name="object 5">
              <a:extLst>
                <a:ext uri="{FF2B5EF4-FFF2-40B4-BE49-F238E27FC236}">
                  <a16:creationId xmlns:a16="http://schemas.microsoft.com/office/drawing/2014/main" id="{5A4BAA18-3C7F-D742-AAF1-544621B8EE08}"/>
                </a:ext>
              </a:extLst>
            </p:cNvPr>
            <p:cNvSpPr/>
            <p:nvPr/>
          </p:nvSpPr>
          <p:spPr>
            <a:xfrm>
              <a:off x="7026877" y="-3538499"/>
              <a:ext cx="4634119" cy="7351602"/>
            </a:xfrm>
            <a:custGeom>
              <a:avLst/>
              <a:gdLst/>
              <a:ahLst/>
              <a:cxnLst/>
              <a:rect l="l" t="t" r="r" b="b"/>
              <a:pathLst>
                <a:path w="3597275" h="5706745">
                  <a:moveTo>
                    <a:pt x="3596821" y="0"/>
                  </a:moveTo>
                  <a:lnTo>
                    <a:pt x="155233" y="0"/>
                  </a:lnTo>
                  <a:lnTo>
                    <a:pt x="152592" y="8352"/>
                  </a:lnTo>
                  <a:lnTo>
                    <a:pt x="140333" y="48846"/>
                  </a:lnTo>
                  <a:lnTo>
                    <a:pt x="128562" y="89534"/>
                  </a:lnTo>
                  <a:lnTo>
                    <a:pt x="117282" y="130414"/>
                  </a:lnTo>
                  <a:lnTo>
                    <a:pt x="106496" y="171480"/>
                  </a:lnTo>
                  <a:lnTo>
                    <a:pt x="96209" y="212731"/>
                  </a:lnTo>
                  <a:lnTo>
                    <a:pt x="86424" y="254162"/>
                  </a:lnTo>
                  <a:lnTo>
                    <a:pt x="77143" y="295769"/>
                  </a:lnTo>
                  <a:lnTo>
                    <a:pt x="68371" y="337550"/>
                  </a:lnTo>
                  <a:lnTo>
                    <a:pt x="60111" y="379501"/>
                  </a:lnTo>
                  <a:lnTo>
                    <a:pt x="52367" y="421618"/>
                  </a:lnTo>
                  <a:lnTo>
                    <a:pt x="45141" y="463898"/>
                  </a:lnTo>
                  <a:lnTo>
                    <a:pt x="38438" y="506336"/>
                  </a:lnTo>
                  <a:lnTo>
                    <a:pt x="32260" y="548930"/>
                  </a:lnTo>
                  <a:lnTo>
                    <a:pt x="26612" y="591677"/>
                  </a:lnTo>
                  <a:lnTo>
                    <a:pt x="21496" y="634571"/>
                  </a:lnTo>
                  <a:lnTo>
                    <a:pt x="16917" y="677611"/>
                  </a:lnTo>
                  <a:lnTo>
                    <a:pt x="12877" y="720792"/>
                  </a:lnTo>
                  <a:lnTo>
                    <a:pt x="9381" y="764111"/>
                  </a:lnTo>
                  <a:lnTo>
                    <a:pt x="6430" y="807565"/>
                  </a:lnTo>
                  <a:lnTo>
                    <a:pt x="4030" y="851149"/>
                  </a:lnTo>
                  <a:lnTo>
                    <a:pt x="2184" y="894861"/>
                  </a:lnTo>
                  <a:lnTo>
                    <a:pt x="894" y="938696"/>
                  </a:lnTo>
                  <a:lnTo>
                    <a:pt x="165" y="982652"/>
                  </a:lnTo>
                  <a:lnTo>
                    <a:pt x="0" y="1026724"/>
                  </a:lnTo>
                  <a:lnTo>
                    <a:pt x="401" y="1070909"/>
                  </a:lnTo>
                  <a:lnTo>
                    <a:pt x="1374" y="1115204"/>
                  </a:lnTo>
                  <a:lnTo>
                    <a:pt x="2921" y="1159605"/>
                  </a:lnTo>
                  <a:lnTo>
                    <a:pt x="5046" y="1204109"/>
                  </a:lnTo>
                  <a:lnTo>
                    <a:pt x="7751" y="1248711"/>
                  </a:lnTo>
                  <a:lnTo>
                    <a:pt x="11042" y="1293409"/>
                  </a:lnTo>
                  <a:lnTo>
                    <a:pt x="14920" y="1338199"/>
                  </a:lnTo>
                  <a:lnTo>
                    <a:pt x="19390" y="1383078"/>
                  </a:lnTo>
                  <a:lnTo>
                    <a:pt x="24455" y="1428041"/>
                  </a:lnTo>
                  <a:lnTo>
                    <a:pt x="30118" y="1473086"/>
                  </a:lnTo>
                  <a:lnTo>
                    <a:pt x="36384" y="1518208"/>
                  </a:lnTo>
                  <a:lnTo>
                    <a:pt x="43254" y="1563405"/>
                  </a:lnTo>
                  <a:lnTo>
                    <a:pt x="50734" y="1608672"/>
                  </a:lnTo>
                  <a:lnTo>
                    <a:pt x="58826" y="1654006"/>
                  </a:lnTo>
                  <a:lnTo>
                    <a:pt x="67533" y="1699404"/>
                  </a:lnTo>
                  <a:lnTo>
                    <a:pt x="76860" y="1744863"/>
                  </a:lnTo>
                  <a:lnTo>
                    <a:pt x="86809" y="1790378"/>
                  </a:lnTo>
                  <a:lnTo>
                    <a:pt x="97385" y="1835945"/>
                  </a:lnTo>
                  <a:lnTo>
                    <a:pt x="108590" y="1881563"/>
                  </a:lnTo>
                  <a:lnTo>
                    <a:pt x="120428" y="1927226"/>
                  </a:lnTo>
                  <a:lnTo>
                    <a:pt x="132902" y="1972932"/>
                  </a:lnTo>
                  <a:lnTo>
                    <a:pt x="1177528" y="5706173"/>
                  </a:lnTo>
                  <a:lnTo>
                    <a:pt x="1215668" y="5675286"/>
                  </a:lnTo>
                  <a:lnTo>
                    <a:pt x="1253516" y="5644026"/>
                  </a:lnTo>
                  <a:lnTo>
                    <a:pt x="1291068" y="5612396"/>
                  </a:lnTo>
                  <a:lnTo>
                    <a:pt x="1328322" y="5580397"/>
                  </a:lnTo>
                  <a:lnTo>
                    <a:pt x="1365274" y="5548032"/>
                  </a:lnTo>
                  <a:lnTo>
                    <a:pt x="1401921" y="5515302"/>
                  </a:lnTo>
                  <a:lnTo>
                    <a:pt x="1438260" y="5482210"/>
                  </a:lnTo>
                  <a:lnTo>
                    <a:pt x="1474287" y="5448757"/>
                  </a:lnTo>
                  <a:lnTo>
                    <a:pt x="1510000" y="5414945"/>
                  </a:lnTo>
                  <a:lnTo>
                    <a:pt x="1545395" y="5380777"/>
                  </a:lnTo>
                  <a:lnTo>
                    <a:pt x="1580468" y="5346255"/>
                  </a:lnTo>
                  <a:lnTo>
                    <a:pt x="1615218" y="5311380"/>
                  </a:lnTo>
                  <a:lnTo>
                    <a:pt x="1649640" y="5276155"/>
                  </a:lnTo>
                  <a:lnTo>
                    <a:pt x="1683731" y="5240582"/>
                  </a:lnTo>
                  <a:lnTo>
                    <a:pt x="1717488" y="5204662"/>
                  </a:lnTo>
                  <a:lnTo>
                    <a:pt x="1750908" y="5168397"/>
                  </a:lnTo>
                  <a:lnTo>
                    <a:pt x="1783987" y="5131791"/>
                  </a:lnTo>
                  <a:lnTo>
                    <a:pt x="1816723" y="5094844"/>
                  </a:lnTo>
                  <a:lnTo>
                    <a:pt x="1849112" y="5057558"/>
                  </a:lnTo>
                  <a:lnTo>
                    <a:pt x="1881151" y="5019937"/>
                  </a:lnTo>
                  <a:lnTo>
                    <a:pt x="1912836" y="4981981"/>
                  </a:lnTo>
                  <a:lnTo>
                    <a:pt x="1944165" y="4943693"/>
                  </a:lnTo>
                  <a:lnTo>
                    <a:pt x="1975135" y="4905074"/>
                  </a:lnTo>
                  <a:lnTo>
                    <a:pt x="2005741" y="4866127"/>
                  </a:lnTo>
                  <a:lnTo>
                    <a:pt x="2035981" y="4826854"/>
                  </a:lnTo>
                  <a:lnTo>
                    <a:pt x="2065852" y="4787257"/>
                  </a:lnTo>
                  <a:lnTo>
                    <a:pt x="2095350" y="4747338"/>
                  </a:lnTo>
                  <a:lnTo>
                    <a:pt x="2124472" y="4707099"/>
                  </a:lnTo>
                  <a:lnTo>
                    <a:pt x="2153215" y="4666541"/>
                  </a:lnTo>
                  <a:lnTo>
                    <a:pt x="2181576" y="4625667"/>
                  </a:lnTo>
                  <a:lnTo>
                    <a:pt x="2209551" y="4584479"/>
                  </a:lnTo>
                  <a:lnTo>
                    <a:pt x="2237138" y="4542979"/>
                  </a:lnTo>
                  <a:lnTo>
                    <a:pt x="2264332" y="4501169"/>
                  </a:lnTo>
                  <a:lnTo>
                    <a:pt x="2291132" y="4459051"/>
                  </a:lnTo>
                  <a:lnTo>
                    <a:pt x="2317533" y="4416627"/>
                  </a:lnTo>
                  <a:lnTo>
                    <a:pt x="2343532" y="4373898"/>
                  </a:lnTo>
                  <a:lnTo>
                    <a:pt x="2369126" y="4330868"/>
                  </a:lnTo>
                  <a:lnTo>
                    <a:pt x="2394313" y="4287538"/>
                  </a:lnTo>
                  <a:lnTo>
                    <a:pt x="2419088" y="4243909"/>
                  </a:lnTo>
                  <a:lnTo>
                    <a:pt x="2443449" y="4199985"/>
                  </a:lnTo>
                  <a:lnTo>
                    <a:pt x="2467392" y="4155767"/>
                  </a:lnTo>
                  <a:lnTo>
                    <a:pt x="2490913" y="4111257"/>
                  </a:lnTo>
                  <a:lnTo>
                    <a:pt x="2514011" y="4066457"/>
                  </a:lnTo>
                  <a:lnTo>
                    <a:pt x="2536682" y="4021369"/>
                  </a:lnTo>
                  <a:lnTo>
                    <a:pt x="2558921" y="3975995"/>
                  </a:lnTo>
                  <a:lnTo>
                    <a:pt x="2580727" y="3930337"/>
                  </a:lnTo>
                  <a:lnTo>
                    <a:pt x="2602096" y="3884397"/>
                  </a:lnTo>
                  <a:lnTo>
                    <a:pt x="2623025" y="3838178"/>
                  </a:lnTo>
                  <a:lnTo>
                    <a:pt x="2643510" y="3791680"/>
                  </a:lnTo>
                  <a:lnTo>
                    <a:pt x="2663548" y="3744907"/>
                  </a:lnTo>
                  <a:lnTo>
                    <a:pt x="2683137" y="3697860"/>
                  </a:lnTo>
                  <a:lnTo>
                    <a:pt x="2702272" y="3650542"/>
                  </a:lnTo>
                  <a:lnTo>
                    <a:pt x="2720951" y="3602953"/>
                  </a:lnTo>
                  <a:lnTo>
                    <a:pt x="2739170" y="3555097"/>
                  </a:lnTo>
                  <a:lnTo>
                    <a:pt x="2756927" y="3506975"/>
                  </a:lnTo>
                  <a:lnTo>
                    <a:pt x="2774217" y="3458589"/>
                  </a:lnTo>
                  <a:lnTo>
                    <a:pt x="2791038" y="3409942"/>
                  </a:lnTo>
                  <a:lnTo>
                    <a:pt x="2807387" y="3361035"/>
                  </a:lnTo>
                  <a:lnTo>
                    <a:pt x="2823260" y="3311870"/>
                  </a:lnTo>
                  <a:lnTo>
                    <a:pt x="2838654" y="3262450"/>
                  </a:lnTo>
                  <a:lnTo>
                    <a:pt x="2853566" y="3212776"/>
                  </a:lnTo>
                  <a:lnTo>
                    <a:pt x="2867992" y="3162850"/>
                  </a:lnTo>
                  <a:lnTo>
                    <a:pt x="2881930" y="3112675"/>
                  </a:lnTo>
                  <a:lnTo>
                    <a:pt x="2895376" y="3062252"/>
                  </a:lnTo>
                  <a:lnTo>
                    <a:pt x="2908327" y="3011584"/>
                  </a:lnTo>
                  <a:lnTo>
                    <a:pt x="2920780" y="2960672"/>
                  </a:lnTo>
                  <a:lnTo>
                    <a:pt x="2932732" y="2909519"/>
                  </a:lnTo>
                  <a:lnTo>
                    <a:pt x="3596821" y="0"/>
                  </a:lnTo>
                  <a:close/>
                </a:path>
              </a:pathLst>
            </a:custGeom>
            <a:solidFill>
              <a:srgbClr val="4870B7"/>
            </a:solidFill>
          </p:spPr>
          <p:txBody>
            <a:bodyPr wrap="square" lIns="0" tIns="0" rIns="0" bIns="0" rtlCol="0"/>
            <a:lstStyle/>
            <a:p>
              <a:endParaRPr/>
            </a:p>
          </p:txBody>
        </p:sp>
      </p:grpSp>
      <p:sp>
        <p:nvSpPr>
          <p:cNvPr id="9" name="TextBox 4">
            <a:extLst>
              <a:ext uri="{FF2B5EF4-FFF2-40B4-BE49-F238E27FC236}">
                <a16:creationId xmlns:a16="http://schemas.microsoft.com/office/drawing/2014/main" id="{80420B7E-E927-1240-BD86-DBC08852D077}"/>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accent2"/>
                </a:solidFill>
                <a:latin typeface="+mj-lt"/>
              </a:rPr>
              <a:t>Vi </a:t>
            </a:r>
            <a:r>
              <a:rPr lang="en-GB" sz="2000" i="0" dirty="0" err="1">
                <a:solidFill>
                  <a:schemeClr val="accent2"/>
                </a:solidFill>
                <a:latin typeface="+mj-lt"/>
              </a:rPr>
              <a:t>forbinder</a:t>
            </a:r>
            <a:r>
              <a:rPr lang="en-GB" sz="2000" i="0" dirty="0">
                <a:solidFill>
                  <a:schemeClr val="accent2"/>
                </a:solidFill>
                <a:latin typeface="+mj-lt"/>
              </a:rPr>
              <a:t> </a:t>
            </a:r>
            <a:r>
              <a:rPr lang="en-GB" sz="2000" i="0" dirty="0" err="1">
                <a:solidFill>
                  <a:schemeClr val="accent2"/>
                </a:solidFill>
                <a:latin typeface="+mj-lt"/>
              </a:rPr>
              <a:t>Danmark</a:t>
            </a:r>
            <a:r>
              <a:rPr lang="en-GB" sz="2000" i="0" dirty="0">
                <a:solidFill>
                  <a:schemeClr val="accent2"/>
                </a:solidFill>
                <a:latin typeface="+mj-lt"/>
              </a:rPr>
              <a:t>.</a:t>
            </a:r>
          </a:p>
          <a:p>
            <a:pPr algn="r"/>
            <a:r>
              <a:rPr lang="en-GB" sz="2000" i="0" dirty="0" err="1">
                <a:solidFill>
                  <a:schemeClr val="accent2"/>
                </a:solidFill>
                <a:latin typeface="+mj-lt"/>
              </a:rPr>
              <a:t>Til</a:t>
            </a:r>
            <a:r>
              <a:rPr lang="en-GB" sz="2000" i="0" dirty="0">
                <a:solidFill>
                  <a:schemeClr val="accent2"/>
                </a:solidFill>
                <a:latin typeface="+mj-lt"/>
              </a:rPr>
              <a:t> </a:t>
            </a:r>
            <a:r>
              <a:rPr lang="en-GB" sz="2000" i="0" dirty="0" err="1">
                <a:solidFill>
                  <a:schemeClr val="accent2"/>
                </a:solidFill>
                <a:latin typeface="+mj-lt"/>
              </a:rPr>
              <a:t>gavn</a:t>
            </a:r>
            <a:r>
              <a:rPr lang="en-GB" sz="2000" i="0" dirty="0">
                <a:solidFill>
                  <a:schemeClr val="accent2"/>
                </a:solidFill>
                <a:latin typeface="+mj-lt"/>
              </a:rPr>
              <a:t> for </a:t>
            </a:r>
            <a:r>
              <a:rPr lang="en-GB" sz="2000" i="0" dirty="0" err="1">
                <a:solidFill>
                  <a:schemeClr val="accent2"/>
                </a:solidFill>
                <a:latin typeface="+mj-lt"/>
              </a:rPr>
              <a:t>alle</a:t>
            </a:r>
            <a:r>
              <a:rPr lang="en-GB" sz="2000" i="0" dirty="0">
                <a:solidFill>
                  <a:schemeClr val="accent2"/>
                </a:solidFill>
                <a:latin typeface="+mj-lt"/>
              </a:rPr>
              <a:t>.</a:t>
            </a:r>
          </a:p>
        </p:txBody>
      </p:sp>
      <p:sp>
        <p:nvSpPr>
          <p:cNvPr id="2" name="Titel 1">
            <a:extLst>
              <a:ext uri="{FF2B5EF4-FFF2-40B4-BE49-F238E27FC236}">
                <a16:creationId xmlns:a16="http://schemas.microsoft.com/office/drawing/2014/main" id="{467A8EF4-5A2C-134F-8870-7DB5A1614AF7}"/>
              </a:ext>
            </a:extLst>
          </p:cNvPr>
          <p:cNvSpPr>
            <a:spLocks noGrp="1"/>
          </p:cNvSpPr>
          <p:nvPr>
            <p:ph type="title"/>
          </p:nvPr>
        </p:nvSpPr>
        <p:spPr/>
        <p:txBody>
          <a:bodyPr/>
          <a:lstStyle/>
          <a:p>
            <a:r>
              <a:rPr lang="da-DK"/>
              <a:t>Klik for at redigere titeltypografien i masteren</a:t>
            </a:r>
          </a:p>
        </p:txBody>
      </p:sp>
    </p:spTree>
    <p:extLst>
      <p:ext uri="{BB962C8B-B14F-4D97-AF65-F5344CB8AC3E}">
        <p14:creationId xmlns:p14="http://schemas.microsoft.com/office/powerpoint/2010/main" val="476091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932543116"/>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61B1D526-9715-4C65-83EE-79727CD02D30}"/>
              </a:ext>
            </a:extLst>
          </p:cNvPr>
          <p:cNvSpPr/>
          <p:nvPr userDrawn="1"/>
        </p:nvSpPr>
        <p:spPr>
          <a:xfrm>
            <a:off x="5497830" y="0"/>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281073856"/>
      </p:ext>
    </p:extLst>
  </p:cSld>
  <p:clrMapOvr>
    <a:masterClrMapping/>
  </p:clrMapOvr>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1149998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accent1"/>
                </a:solidFill>
                <a:latin typeface="+mj-lt"/>
              </a:rPr>
              <a:t>We connect Denmark.</a:t>
            </a:r>
          </a:p>
          <a:p>
            <a:pPr algn="r"/>
            <a:r>
              <a:rPr lang="en-GB" sz="2000" i="0" dirty="0">
                <a:solidFill>
                  <a:schemeClr val="accent1"/>
                </a:solidFill>
                <a:latin typeface="+mj-lt"/>
              </a:rPr>
              <a:t>For everyone.</a:t>
            </a: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dirty="0"/>
              <a:t>Click to add title</a:t>
            </a:r>
          </a:p>
        </p:txBody>
      </p:sp>
    </p:spTree>
    <p:extLst>
      <p:ext uri="{BB962C8B-B14F-4D97-AF65-F5344CB8AC3E}">
        <p14:creationId xmlns:p14="http://schemas.microsoft.com/office/powerpoint/2010/main" val="1200650967"/>
      </p:ext>
    </p:extLst>
  </p:cSld>
  <p:clrMapOvr>
    <a:masterClrMapping/>
  </p:clrMapOvr>
  <p:hf hdr="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Breaker A">
    <p:spTree>
      <p:nvGrpSpPr>
        <p:cNvPr id="1" name=""/>
        <p:cNvGrpSpPr/>
        <p:nvPr/>
      </p:nvGrpSpPr>
      <p:grpSpPr>
        <a:xfrm>
          <a:off x="0" y="0"/>
          <a:ext cx="0" cy="0"/>
          <a:chOff x="0" y="0"/>
          <a:chExt cx="0" cy="0"/>
        </a:xfrm>
      </p:grpSpPr>
      <p:pic>
        <p:nvPicPr>
          <p:cNvPr id="9" name="Billede 8" descr="Et billede, der indeholder paraply&#10;&#10;Automatisk genereret beskrivelse">
            <a:extLst>
              <a:ext uri="{FF2B5EF4-FFF2-40B4-BE49-F238E27FC236}">
                <a16:creationId xmlns:a16="http://schemas.microsoft.com/office/drawing/2014/main" id="{6F6BFEDF-7AC8-BA43-972A-9C7552CA292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b="5944"/>
          <a:stretch/>
        </p:blipFill>
        <p:spPr>
          <a:xfrm flipH="1">
            <a:off x="0" y="1"/>
            <a:ext cx="12201977" cy="6858000"/>
          </a:xfrm>
          <a:prstGeom prst="rect">
            <a:avLst/>
          </a:prstGeom>
        </p:spPr>
      </p:pic>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80105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1"/>
                </a:solidFill>
                <a:latin typeface="+mj-lt"/>
              </a:defRPr>
            </a:lvl1pPr>
          </a:lstStyle>
          <a:p>
            <a:r>
              <a:rPr lang="en-GB" dirty="0"/>
              <a:t>Click to add title</a:t>
            </a:r>
          </a:p>
        </p:txBody>
      </p:sp>
      <p:pic>
        <p:nvPicPr>
          <p:cNvPr id="10" name="Logo">
            <a:extLst>
              <a:ext uri="{FF2B5EF4-FFF2-40B4-BE49-F238E27FC236}">
                <a16:creationId xmlns:a16="http://schemas.microsoft.com/office/drawing/2014/main" id="{E3B4515D-3E06-314E-A5B5-AF6D44D0235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177290252"/>
      </p:ext>
    </p:extLst>
  </p:cSld>
  <p:clrMapOvr>
    <a:masterClrMapping/>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Breaker A">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AA893074-8932-5B47-8BF2-549613E678B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6250"/>
          <a:stretch/>
        </p:blipFill>
        <p:spPr>
          <a:xfrm>
            <a:off x="1" y="-1"/>
            <a:ext cx="12241764" cy="6858001"/>
          </a:xfrm>
          <a:prstGeom prst="rect">
            <a:avLst/>
          </a:prstGeom>
        </p:spPr>
      </p:pic>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308369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1"/>
                </a:solidFill>
                <a:latin typeface="+mj-lt"/>
              </a:defRPr>
            </a:lvl1pPr>
          </a:lstStyle>
          <a:p>
            <a:r>
              <a:rPr lang="en-GB" dirty="0"/>
              <a:t>Click to add title</a:t>
            </a:r>
          </a:p>
        </p:txBody>
      </p:sp>
      <p:pic>
        <p:nvPicPr>
          <p:cNvPr id="10" name="Logo">
            <a:extLst>
              <a:ext uri="{FF2B5EF4-FFF2-40B4-BE49-F238E27FC236}">
                <a16:creationId xmlns:a16="http://schemas.microsoft.com/office/drawing/2014/main" id="{F8F9C71E-8383-7A48-80F3-A2E85A037B2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051866239"/>
      </p:ext>
    </p:extLst>
  </p:cSld>
  <p:clrMapOvr>
    <a:masterClrMapping/>
  </p:clrMapOvr>
  <p:hf hdr="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608001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1"/>
                </a:solidFill>
                <a:latin typeface="+mj-lt"/>
              </a:defRPr>
            </a:lvl1pPr>
          </a:lstStyle>
          <a:p>
            <a:r>
              <a:rPr lang="en-GB" dirty="0"/>
              <a:t>Click to add title</a:t>
            </a:r>
          </a:p>
        </p:txBody>
      </p:sp>
      <p:pic>
        <p:nvPicPr>
          <p:cNvPr id="10" name="Logo">
            <a:extLst>
              <a:ext uri="{FF2B5EF4-FFF2-40B4-BE49-F238E27FC236}">
                <a16:creationId xmlns:a16="http://schemas.microsoft.com/office/drawing/2014/main" id="{F8F9C71E-8383-7A48-80F3-A2E85A037B2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pic>
        <p:nvPicPr>
          <p:cNvPr id="8" name="Billede 7" descr="Et billede, der indeholder tegning&#10;&#10;Automatisk genereret beskrivelse">
            <a:extLst>
              <a:ext uri="{FF2B5EF4-FFF2-40B4-BE49-F238E27FC236}">
                <a16:creationId xmlns:a16="http://schemas.microsoft.com/office/drawing/2014/main" id="{8A88551E-46FE-3649-B33C-D71D2EC2FB82}"/>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6923661" y="0"/>
            <a:ext cx="5268339" cy="2823618"/>
          </a:xfrm>
          <a:prstGeom prst="rect">
            <a:avLst/>
          </a:prstGeom>
        </p:spPr>
      </p:pic>
      <p:pic>
        <p:nvPicPr>
          <p:cNvPr id="9" name="Billede 8" descr="Et billede, der indeholder bord&#10;&#10;Automatisk genereret beskrivelse">
            <a:extLst>
              <a:ext uri="{FF2B5EF4-FFF2-40B4-BE49-F238E27FC236}">
                <a16:creationId xmlns:a16="http://schemas.microsoft.com/office/drawing/2014/main" id="{5738D613-92FB-7440-81B6-6709979C66C6}"/>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11095" y="1"/>
            <a:ext cx="1541689" cy="6858000"/>
          </a:xfrm>
          <a:prstGeom prst="rect">
            <a:avLst/>
          </a:prstGeom>
        </p:spPr>
      </p:pic>
    </p:spTree>
    <p:extLst>
      <p:ext uri="{BB962C8B-B14F-4D97-AF65-F5344CB8AC3E}">
        <p14:creationId xmlns:p14="http://schemas.microsoft.com/office/powerpoint/2010/main" val="1041835570"/>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744941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accent2"/>
                </a:solidFill>
                <a:latin typeface="+mj-lt"/>
              </a:rPr>
              <a:t>We connect Denmark.</a:t>
            </a:r>
          </a:p>
          <a:p>
            <a:pPr algn="r"/>
            <a:r>
              <a:rPr lang="en-GB" sz="2000" i="0" dirty="0">
                <a:solidFill>
                  <a:schemeClr val="accent2"/>
                </a:solidFill>
                <a:latin typeface="+mj-lt"/>
              </a:rPr>
              <a:t>For everyone.</a:t>
            </a:r>
          </a:p>
        </p:txBody>
      </p:sp>
    </p:spTree>
    <p:extLst>
      <p:ext uri="{BB962C8B-B14F-4D97-AF65-F5344CB8AC3E}">
        <p14:creationId xmlns:p14="http://schemas.microsoft.com/office/powerpoint/2010/main" val="13093680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Breaker A">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416AAE2A-ABD4-2F48-A28C-B312A8B87C9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1822" r="484" b="4502"/>
          <a:stretch/>
        </p:blipFill>
        <p:spPr>
          <a:xfrm>
            <a:off x="1" y="0"/>
            <a:ext cx="12192000" cy="6858000"/>
          </a:xfrm>
          <a:prstGeom prst="rect">
            <a:avLst/>
          </a:prstGeom>
        </p:spPr>
      </p:pic>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399362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10" name="Logo">
            <a:extLst>
              <a:ext uri="{FF2B5EF4-FFF2-40B4-BE49-F238E27FC236}">
                <a16:creationId xmlns:a16="http://schemas.microsoft.com/office/drawing/2014/main" id="{F8F9C71E-8383-7A48-80F3-A2E85A037B2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237157714"/>
      </p:ext>
    </p:extLst>
  </p:cSld>
  <p:clrMapOvr>
    <a:masterClrMapping/>
  </p:clrMapOvr>
  <p:hf hdr="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4247917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176146781"/>
      </p:ext>
    </p:extLst>
  </p:cSld>
  <p:clrMapOvr>
    <a:masterClrMapping/>
  </p:clrMapOvr>
  <p:hf hdr="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84796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accent2"/>
                </a:solidFill>
                <a:latin typeface="+mj-lt"/>
              </a:rPr>
              <a:t>We connect Denmark.</a:t>
            </a:r>
          </a:p>
          <a:p>
            <a:pPr algn="r"/>
            <a:r>
              <a:rPr lang="en-GB" sz="2000" i="0" dirty="0">
                <a:solidFill>
                  <a:schemeClr val="accent2"/>
                </a:solidFill>
                <a:latin typeface="+mj-lt"/>
              </a:rPr>
              <a:t>For everyone.</a:t>
            </a:r>
          </a:p>
        </p:txBody>
      </p:sp>
    </p:spTree>
    <p:extLst>
      <p:ext uri="{BB962C8B-B14F-4D97-AF65-F5344CB8AC3E}">
        <p14:creationId xmlns:p14="http://schemas.microsoft.com/office/powerpoint/2010/main" val="14201974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bg1"/>
                </a:solidFill>
                <a:latin typeface="+mj-lt"/>
              </a:rPr>
              <a:t>We connect Denmark.</a:t>
            </a:r>
          </a:p>
          <a:p>
            <a:pPr algn="r"/>
            <a:r>
              <a:rPr lang="en-GB" sz="2000" i="0" dirty="0">
                <a:solidFill>
                  <a:schemeClr val="bg1"/>
                </a:solidFill>
                <a:latin typeface="+mj-lt"/>
              </a:rPr>
              <a:t>For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1692690690"/>
      </p:ext>
    </p:extLst>
  </p:cSld>
  <p:clrMapOvr>
    <a:masterClrMapping/>
  </p:clrMapOvr>
  <p:hf hdr="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58752042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329533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spAutoFit/>
          </a:bodyPr>
          <a:lstStyle>
            <a:lvl1pPr>
              <a:defRPr>
                <a:latin typeface="+mj-lt"/>
              </a:defRPr>
            </a:lvl1pPr>
          </a:lstStyle>
          <a:p>
            <a:r>
              <a:rPr lang="da-DK" dirty="0" err="1"/>
              <a:t>Click</a:t>
            </a:r>
            <a:r>
              <a:rPr lang="da-DK" dirty="0"/>
              <a:t> to </a:t>
            </a:r>
            <a:r>
              <a:rPr lang="da-DK" dirty="0" err="1"/>
              <a:t>edit</a:t>
            </a:r>
            <a:r>
              <a:rPr lang="da-DK" dirty="0"/>
              <a:t> Master </a:t>
            </a:r>
            <a:r>
              <a:rPr lang="da-DK" dirty="0" err="1"/>
              <a:t>title</a:t>
            </a:r>
            <a:r>
              <a:rPr lang="da-DK" dirty="0"/>
              <a:t> style</a:t>
            </a: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83174602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427332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a:solidFill>
                  <a:schemeClr val="bg1"/>
                </a:solidFill>
                <a:latin typeface="+mj-lt"/>
              </a:rPr>
              <a:t>We connect Denmark.</a:t>
            </a:r>
          </a:p>
          <a:p>
            <a:pPr algn="r"/>
            <a:r>
              <a:rPr lang="en-GB" sz="1600" i="0">
                <a:solidFill>
                  <a:schemeClr val="bg1"/>
                </a:solidFill>
                <a:latin typeface="+mj-lt"/>
              </a:rPr>
              <a:t>For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3251449765"/>
      </p:ext>
    </p:extLst>
  </p:cSld>
  <p:clrMapOvr>
    <a:masterClrMapping/>
  </p:clrMapOvr>
  <p:hf hdr="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279840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accent1"/>
                </a:solidFill>
                <a:latin typeface="+mj-lt"/>
              </a:rPr>
              <a:t>We connect Denmark.</a:t>
            </a:r>
          </a:p>
          <a:p>
            <a:pPr lvl="0"/>
            <a:r>
              <a:rPr lang="en-GB">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3226611599"/>
      </p:ext>
    </p:extLst>
  </p:cSld>
  <p:clrMapOvr>
    <a:masterClrMapping/>
  </p:clrMapOvr>
  <p:hf hdr="0"/>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2071924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a:latin typeface="TDC NET" panose="00000500000000000000" pitchFamily="2" charset="0"/>
              <a:ea typeface="+mj-ea"/>
              <a:cs typeface="+mj-cs"/>
              <a:sym typeface="TDC NET" panose="00000500000000000000" pitchFamily="2" charset="0"/>
            </a:endParaRPr>
          </a:p>
        </p:txBody>
      </p:sp>
      <p:pic>
        <p:nvPicPr>
          <p:cNvPr id="17" name="Billede 16" descr="Et billede, der indeholder udendørs, sten, bygning, forside&#10;&#10;Automatisk genereret beskrivelse">
            <a:extLst>
              <a:ext uri="{FF2B5EF4-FFF2-40B4-BE49-F238E27FC236}">
                <a16:creationId xmlns:a16="http://schemas.microsoft.com/office/drawing/2014/main" id="{427A3AB1-05F0-4288-A449-024AB89F550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71" t="21961" r="27760" b="50976"/>
          <a:stretch/>
        </p:blipFill>
        <p:spPr>
          <a:xfrm>
            <a:off x="0" y="-1"/>
            <a:ext cx="12192000" cy="6858001"/>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rotWithShape="1">
          <a:blip r:embed="rId7"/>
          <a:srcRect l="17968"/>
          <a:stretch/>
        </p:blipFill>
        <p:spPr>
          <a:xfrm>
            <a:off x="-12076" y="-5608"/>
            <a:ext cx="8721867"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pic>
        <p:nvPicPr>
          <p:cNvPr id="19" name="Grafik 15">
            <a:extLst>
              <a:ext uri="{FF2B5EF4-FFF2-40B4-BE49-F238E27FC236}">
                <a16:creationId xmlns:a16="http://schemas.microsoft.com/office/drawing/2014/main" id="{FA78B07B-D75D-4888-8046-CC25076F1098}"/>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781348673"/>
      </p:ext>
    </p:extLst>
  </p:cSld>
  <p:clrMapOvr>
    <a:masterClrMapping/>
  </p:clrMapOvr>
  <p:hf hdr="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accent1"/>
                </a:solidFill>
                <a:latin typeface="+mj-lt"/>
              </a:rPr>
              <a:t>We connect Denmark.</a:t>
            </a:r>
          </a:p>
          <a:p>
            <a:pPr lvl="0"/>
            <a:r>
              <a:rPr lang="en-GB">
                <a:solidFill>
                  <a:schemeClr val="accent1"/>
                </a:solidFill>
                <a:latin typeface="+mj-lt"/>
              </a:rPr>
              <a:t>For everyone.</a:t>
            </a:r>
          </a:p>
        </p:txBody>
      </p:sp>
    </p:spTree>
    <p:extLst>
      <p:ext uri="{BB962C8B-B14F-4D97-AF65-F5344CB8AC3E}">
        <p14:creationId xmlns:p14="http://schemas.microsoft.com/office/powerpoint/2010/main" val="3637200835"/>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bg1"/>
                </a:solidFill>
                <a:latin typeface="+mj-lt"/>
              </a:rPr>
              <a:t>We connect Denmark.</a:t>
            </a:r>
          </a:p>
          <a:p>
            <a:pPr algn="r"/>
            <a:r>
              <a:rPr lang="en-GB" sz="2000" i="0" dirty="0">
                <a:solidFill>
                  <a:schemeClr val="bg1"/>
                </a:solidFill>
                <a:latin typeface="+mj-lt"/>
              </a:rPr>
              <a:t>For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1971382265"/>
      </p:ext>
    </p:extLst>
  </p:cSld>
  <p:clrMapOvr>
    <a:masterClrMapping/>
  </p:clrMapOvr>
  <p:hf hdr="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To benefit everyone.</a:t>
            </a:r>
          </a:p>
        </p:txBody>
      </p:sp>
    </p:spTree>
    <p:extLst>
      <p:ext uri="{BB962C8B-B14F-4D97-AF65-F5344CB8AC3E}">
        <p14:creationId xmlns:p14="http://schemas.microsoft.com/office/powerpoint/2010/main" val="4286705822"/>
      </p:ext>
    </p:extLst>
  </p:cSld>
  <p:clrMapOvr>
    <a:masterClrMapping/>
  </p:clrMapOvr>
  <p:hf hdr="0"/>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To benefit everyone.</a:t>
            </a:r>
          </a:p>
        </p:txBody>
      </p:sp>
    </p:spTree>
    <p:extLst>
      <p:ext uri="{BB962C8B-B14F-4D97-AF65-F5344CB8AC3E}">
        <p14:creationId xmlns:p14="http://schemas.microsoft.com/office/powerpoint/2010/main" val="1425048368"/>
      </p:ext>
    </p:extLst>
  </p:cSld>
  <p:clrMapOvr>
    <a:masterClrMapping/>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188765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67676745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245594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69123386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89570870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70843002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919421040"/>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607830517"/>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59330166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53267234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64977577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61B1D526-9715-4C65-83EE-79727CD02D30}"/>
              </a:ext>
            </a:extLst>
          </p:cNvPr>
          <p:cNvSpPr/>
          <p:nvPr userDrawn="1"/>
        </p:nvSpPr>
        <p:spPr>
          <a:xfrm>
            <a:off x="0" y="0"/>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65788157"/>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91041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1"/>
                </a:solidFill>
                <a:latin typeface="+mj-lt"/>
              </a:rPr>
              <a:t>We connect Denmark.</a:t>
            </a:r>
          </a:p>
          <a:p>
            <a:pPr algn="r"/>
            <a:r>
              <a:rPr lang="en-GB" sz="2000" i="0">
                <a:solidFill>
                  <a:schemeClr val="accent1"/>
                </a:solidFill>
                <a:latin typeface="+mj-lt"/>
              </a:rPr>
              <a:t>For everyone.</a:t>
            </a: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a:t>Click to add title</a:t>
            </a:r>
          </a:p>
        </p:txBody>
      </p:sp>
    </p:spTree>
    <p:extLst>
      <p:ext uri="{BB962C8B-B14F-4D97-AF65-F5344CB8AC3E}">
        <p14:creationId xmlns:p14="http://schemas.microsoft.com/office/powerpoint/2010/main" val="524207298"/>
      </p:ext>
    </p:extLst>
  </p:cSld>
  <p:clrMapOvr>
    <a:masterClrMapping/>
  </p:clrMapOvr>
  <p:hf hdr="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11578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4078481830"/>
      </p:ext>
    </p:extLst>
  </p:cSld>
  <p:clrMapOvr>
    <a:masterClrMapping/>
  </p:clrMapOvr>
  <p:hf hdr="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822412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accent2"/>
                </a:solidFill>
                <a:latin typeface="+mj-lt"/>
              </a:rPr>
              <a:t>We connect Denmark.</a:t>
            </a:r>
          </a:p>
          <a:p>
            <a:pPr algn="r"/>
            <a:r>
              <a:rPr lang="en-GB" sz="2000" i="0" dirty="0">
                <a:solidFill>
                  <a:schemeClr val="accent2"/>
                </a:solidFill>
                <a:latin typeface="+mj-lt"/>
              </a:rPr>
              <a:t>For everyone.</a:t>
            </a:r>
          </a:p>
        </p:txBody>
      </p:sp>
    </p:spTree>
    <p:extLst>
      <p:ext uri="{BB962C8B-B14F-4D97-AF65-F5344CB8AC3E}">
        <p14:creationId xmlns:p14="http://schemas.microsoft.com/office/powerpoint/2010/main" val="116500649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bg1"/>
                </a:solidFill>
                <a:latin typeface="+mj-lt"/>
              </a:rPr>
              <a:t>We connect Denmark.</a:t>
            </a:r>
          </a:p>
          <a:p>
            <a:pPr algn="r"/>
            <a:r>
              <a:rPr lang="en-GB" sz="2000" i="0">
                <a:solidFill>
                  <a:schemeClr val="bg1"/>
                </a:solidFill>
                <a:latin typeface="+mj-lt"/>
              </a:rPr>
              <a:t>For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2553059909"/>
      </p:ext>
    </p:extLst>
  </p:cSld>
  <p:clrMapOvr>
    <a:masterClrMapping/>
  </p:clrMapOvr>
  <p:hf hdr="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Tree>
    <p:extLst>
      <p:ext uri="{BB962C8B-B14F-4D97-AF65-F5344CB8AC3E}">
        <p14:creationId xmlns:p14="http://schemas.microsoft.com/office/powerpoint/2010/main" val="332297973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da-DK"/>
              <a:t>Klik for at redigere titeltypografien i masteren</a:t>
            </a:r>
            <a:endParaRPr lang="en-US"/>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a:solidFill>
                <a:srgbClr val="808080"/>
              </a:solidFill>
              <a:latin typeface="+mn-lt"/>
              <a:ea typeface="+mn-ea"/>
            </a:endParaRPr>
          </a:p>
        </p:txBody>
      </p:sp>
      <p:sp>
        <p:nvSpPr>
          <p:cNvPr id="6" name="ColorBackground1Rectangle">
            <a:extLst>
              <a:ext uri="{FF2B5EF4-FFF2-40B4-BE49-F238E27FC236}">
                <a16:creationId xmlns:a16="http://schemas.microsoft.com/office/drawing/2014/main" id="{AE47DC73-0D1B-466F-830E-1A0CD1D30BE9}"/>
              </a:ext>
            </a:extLst>
          </p:cNvPr>
          <p:cNvSpPr>
            <a:spLocks noChangeArrowheads="1"/>
          </p:cNvSpPr>
          <p:nvPr userDrawn="1"/>
        </p:nvSpPr>
        <p:spPr bwMode="gray">
          <a:xfrm>
            <a:off x="-1007925" y="-840"/>
            <a:ext cx="966408" cy="610440"/>
          </a:xfrm>
          <a:prstGeom prst="rect">
            <a:avLst/>
          </a:prstGeom>
          <a:solidFill>
            <a:schemeClr val="bg1"/>
          </a:solidFill>
          <a:ln w="9525">
            <a:solidFill>
              <a:srgbClr val="60606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07" tIns="60953" rIns="121907" bIns="60953" numCol="1" anchor="ctr" anchorCtr="0" compatLnSpc="1">
            <a:prstTxWarp prst="textNoShape">
              <a:avLst/>
            </a:prstTxWarp>
            <a:noAutofit/>
          </a:bodyPr>
          <a:lstStyle/>
          <a:p>
            <a:pPr algn="ctr" defTabSz="1243918"/>
            <a:r>
              <a:rPr lang="en-US" sz="1333">
                <a:solidFill>
                  <a:srgbClr val="000000"/>
                </a:solidFill>
                <a:latin typeface="+mn-lt"/>
                <a:cs typeface="Arial" pitchFamily="34" charset="0"/>
              </a:rPr>
              <a:t>255
255
255</a:t>
            </a:r>
          </a:p>
        </p:txBody>
      </p:sp>
      <p:sp>
        <p:nvSpPr>
          <p:cNvPr id="7" name="Rectangle 8">
            <a:extLst>
              <a:ext uri="{FF2B5EF4-FFF2-40B4-BE49-F238E27FC236}">
                <a16:creationId xmlns:a16="http://schemas.microsoft.com/office/drawing/2014/main" id="{8890E92C-BC59-4F8A-A731-AFC224002606}"/>
              </a:ext>
            </a:extLst>
          </p:cNvPr>
          <p:cNvSpPr>
            <a:spLocks noChangeArrowheads="1"/>
          </p:cNvSpPr>
          <p:nvPr userDrawn="1"/>
        </p:nvSpPr>
        <p:spPr bwMode="gray">
          <a:xfrm>
            <a:off x="-1845616" y="-12545"/>
            <a:ext cx="955340" cy="342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Background</a:t>
            </a:r>
          </a:p>
          <a:p>
            <a:pPr defTabSz="1243918"/>
            <a:r>
              <a:rPr lang="en-US" sz="1067">
                <a:latin typeface="+mn-lt"/>
                <a:cs typeface="Arial" pitchFamily="34" charset="0"/>
              </a:rPr>
              <a:t>Color</a:t>
            </a:r>
          </a:p>
        </p:txBody>
      </p:sp>
      <p:sp>
        <p:nvSpPr>
          <p:cNvPr id="8" name="ColorBackground1Rectangle">
            <a:extLst>
              <a:ext uri="{FF2B5EF4-FFF2-40B4-BE49-F238E27FC236}">
                <a16:creationId xmlns:a16="http://schemas.microsoft.com/office/drawing/2014/main" id="{07DC8356-58DE-4943-93FF-997BFFD910EE}"/>
              </a:ext>
            </a:extLst>
          </p:cNvPr>
          <p:cNvSpPr>
            <a:spLocks noChangeArrowheads="1"/>
          </p:cNvSpPr>
          <p:nvPr userDrawn="1"/>
        </p:nvSpPr>
        <p:spPr bwMode="gray">
          <a:xfrm>
            <a:off x="-1007925" y="639114"/>
            <a:ext cx="966408" cy="612648"/>
          </a:xfrm>
          <a:prstGeom prst="rect">
            <a:avLst/>
          </a:prstGeom>
          <a:solidFill>
            <a:srgbClr val="000000"/>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a:solidFill>
                  <a:schemeClr val="bg1"/>
                </a:solidFill>
                <a:latin typeface="+mn-lt"/>
                <a:cs typeface="Arial" pitchFamily="34" charset="0"/>
              </a:rPr>
              <a:t>0</a:t>
            </a:r>
          </a:p>
          <a:p>
            <a:pPr algn="ctr" defTabSz="1243918"/>
            <a:r>
              <a:rPr lang="en-US" sz="1333">
                <a:solidFill>
                  <a:schemeClr val="bg1"/>
                </a:solidFill>
                <a:latin typeface="+mn-lt"/>
                <a:cs typeface="Arial" pitchFamily="34" charset="0"/>
              </a:rPr>
              <a:t>0</a:t>
            </a:r>
          </a:p>
          <a:p>
            <a:pPr algn="ctr" defTabSz="1243918"/>
            <a:r>
              <a:rPr lang="en-US" sz="1333">
                <a:solidFill>
                  <a:schemeClr val="bg1"/>
                </a:solidFill>
                <a:latin typeface="+mn-lt"/>
                <a:cs typeface="Arial" pitchFamily="34" charset="0"/>
              </a:rPr>
              <a:t>0</a:t>
            </a:r>
          </a:p>
        </p:txBody>
      </p:sp>
      <p:sp>
        <p:nvSpPr>
          <p:cNvPr id="9" name="Rectangle 8">
            <a:extLst>
              <a:ext uri="{FF2B5EF4-FFF2-40B4-BE49-F238E27FC236}">
                <a16:creationId xmlns:a16="http://schemas.microsoft.com/office/drawing/2014/main" id="{8347244E-DFB4-489B-973B-381AA9ADF6FB}"/>
              </a:ext>
            </a:extLst>
          </p:cNvPr>
          <p:cNvSpPr>
            <a:spLocks noChangeArrowheads="1"/>
          </p:cNvSpPr>
          <p:nvPr userDrawn="1"/>
        </p:nvSpPr>
        <p:spPr bwMode="gray">
          <a:xfrm>
            <a:off x="-1845616" y="627409"/>
            <a:ext cx="955340" cy="32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Default text</a:t>
            </a:r>
          </a:p>
          <a:p>
            <a:pPr defTabSz="1243918"/>
            <a:r>
              <a:rPr lang="en-US" sz="1067">
                <a:latin typeface="+mn-lt"/>
                <a:cs typeface="Arial" pitchFamily="34" charset="0"/>
              </a:rPr>
              <a:t>Color</a:t>
            </a:r>
          </a:p>
        </p:txBody>
      </p:sp>
      <p:sp>
        <p:nvSpPr>
          <p:cNvPr id="10" name="ColorBackground1Rectangle">
            <a:extLst>
              <a:ext uri="{FF2B5EF4-FFF2-40B4-BE49-F238E27FC236}">
                <a16:creationId xmlns:a16="http://schemas.microsoft.com/office/drawing/2014/main" id="{1C52D22B-0139-4499-B806-BCED7EED7EF7}"/>
              </a:ext>
            </a:extLst>
          </p:cNvPr>
          <p:cNvSpPr>
            <a:spLocks noChangeArrowheads="1"/>
          </p:cNvSpPr>
          <p:nvPr userDrawn="1"/>
        </p:nvSpPr>
        <p:spPr bwMode="gray">
          <a:xfrm>
            <a:off x="-1007925" y="1276728"/>
            <a:ext cx="966408" cy="612648"/>
          </a:xfrm>
          <a:prstGeom prst="rect">
            <a:avLst/>
          </a:prstGeom>
          <a:solidFill>
            <a:srgbClr val="E9F1E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a:solidFill>
                  <a:schemeClr val="tx1"/>
                </a:solidFill>
                <a:latin typeface="+mn-lt"/>
                <a:cs typeface="Arial" pitchFamily="34" charset="0"/>
              </a:rPr>
              <a:t>233</a:t>
            </a:r>
          </a:p>
          <a:p>
            <a:pPr algn="ctr" defTabSz="1243918"/>
            <a:r>
              <a:rPr lang="en-US" sz="1333">
                <a:solidFill>
                  <a:schemeClr val="tx1"/>
                </a:solidFill>
                <a:latin typeface="+mn-lt"/>
                <a:cs typeface="Arial" pitchFamily="34" charset="0"/>
              </a:rPr>
              <a:t>241</a:t>
            </a:r>
          </a:p>
          <a:p>
            <a:pPr algn="ctr" defTabSz="1243918"/>
            <a:r>
              <a:rPr lang="en-US" sz="1333">
                <a:solidFill>
                  <a:schemeClr val="tx1"/>
                </a:solidFill>
                <a:latin typeface="+mn-lt"/>
                <a:cs typeface="Arial" pitchFamily="34" charset="0"/>
              </a:rPr>
              <a:t>239</a:t>
            </a:r>
          </a:p>
        </p:txBody>
      </p:sp>
      <p:sp>
        <p:nvSpPr>
          <p:cNvPr id="11" name="Rectangle 8">
            <a:extLst>
              <a:ext uri="{FF2B5EF4-FFF2-40B4-BE49-F238E27FC236}">
                <a16:creationId xmlns:a16="http://schemas.microsoft.com/office/drawing/2014/main" id="{BDACE4AB-596B-4DBA-9E17-939EC0C3BB5B}"/>
              </a:ext>
            </a:extLst>
          </p:cNvPr>
          <p:cNvSpPr>
            <a:spLocks noChangeArrowheads="1"/>
          </p:cNvSpPr>
          <p:nvPr userDrawn="1"/>
        </p:nvSpPr>
        <p:spPr bwMode="gray">
          <a:xfrm>
            <a:off x="-1845616" y="1265023"/>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Background 2</a:t>
            </a:r>
          </a:p>
        </p:txBody>
      </p:sp>
      <p:sp>
        <p:nvSpPr>
          <p:cNvPr id="12" name="ColorBackground1Rectangle">
            <a:extLst>
              <a:ext uri="{FF2B5EF4-FFF2-40B4-BE49-F238E27FC236}">
                <a16:creationId xmlns:a16="http://schemas.microsoft.com/office/drawing/2014/main" id="{241194B4-DC84-4DC8-8921-7876917D3D2E}"/>
              </a:ext>
            </a:extLst>
          </p:cNvPr>
          <p:cNvSpPr>
            <a:spLocks noChangeArrowheads="1"/>
          </p:cNvSpPr>
          <p:nvPr userDrawn="1"/>
        </p:nvSpPr>
        <p:spPr bwMode="gray">
          <a:xfrm>
            <a:off x="-1007925" y="1924152"/>
            <a:ext cx="966408" cy="612648"/>
          </a:xfrm>
          <a:prstGeom prst="rect">
            <a:avLst/>
          </a:prstGeom>
          <a:solidFill>
            <a:srgbClr val="0063A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99</a:t>
            </a:r>
          </a:p>
          <a:p>
            <a:pPr algn="ctr" defTabSz="1243918"/>
            <a:r>
              <a:rPr lang="en-US" sz="1333" b="1">
                <a:solidFill>
                  <a:schemeClr val="bg1"/>
                </a:solidFill>
                <a:latin typeface="+mn-lt"/>
                <a:cs typeface="Arial" pitchFamily="34" charset="0"/>
              </a:rPr>
              <a:t>175</a:t>
            </a:r>
          </a:p>
        </p:txBody>
      </p:sp>
      <p:sp>
        <p:nvSpPr>
          <p:cNvPr id="13" name="Rectangle 8">
            <a:extLst>
              <a:ext uri="{FF2B5EF4-FFF2-40B4-BE49-F238E27FC236}">
                <a16:creationId xmlns:a16="http://schemas.microsoft.com/office/drawing/2014/main" id="{0F18EFA4-544D-45E4-BFAD-AE163C122C0C}"/>
              </a:ext>
            </a:extLst>
          </p:cNvPr>
          <p:cNvSpPr>
            <a:spLocks noChangeArrowheads="1"/>
          </p:cNvSpPr>
          <p:nvPr userDrawn="1"/>
        </p:nvSpPr>
        <p:spPr bwMode="gray">
          <a:xfrm>
            <a:off x="-1845616" y="1912447"/>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Title Color</a:t>
            </a:r>
          </a:p>
        </p:txBody>
      </p:sp>
      <p:sp>
        <p:nvSpPr>
          <p:cNvPr id="14" name="ColorBackground1Rectangle">
            <a:extLst>
              <a:ext uri="{FF2B5EF4-FFF2-40B4-BE49-F238E27FC236}">
                <a16:creationId xmlns:a16="http://schemas.microsoft.com/office/drawing/2014/main" id="{8EBEB7E3-E6D7-4DAD-8A5A-9319174A181C}"/>
              </a:ext>
            </a:extLst>
          </p:cNvPr>
          <p:cNvSpPr>
            <a:spLocks noChangeArrowheads="1"/>
          </p:cNvSpPr>
          <p:nvPr userDrawn="1"/>
        </p:nvSpPr>
        <p:spPr bwMode="gray">
          <a:xfrm>
            <a:off x="-1007925" y="2568300"/>
            <a:ext cx="966408" cy="612648"/>
          </a:xfrm>
          <a:prstGeom prst="rect">
            <a:avLst/>
          </a:prstGeom>
          <a:solidFill>
            <a:srgbClr val="99CCE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0">
                <a:solidFill>
                  <a:schemeClr val="tx1"/>
                </a:solidFill>
                <a:latin typeface="+mn-lt"/>
                <a:cs typeface="Arial" pitchFamily="34" charset="0"/>
              </a:rPr>
              <a:t>153</a:t>
            </a:r>
          </a:p>
          <a:p>
            <a:pPr algn="ctr" defTabSz="1243918"/>
            <a:r>
              <a:rPr lang="en-US" sz="1333" b="0">
                <a:solidFill>
                  <a:schemeClr val="tx1"/>
                </a:solidFill>
                <a:latin typeface="+mn-lt"/>
                <a:cs typeface="Arial" pitchFamily="34" charset="0"/>
              </a:rPr>
              <a:t>204</a:t>
            </a:r>
          </a:p>
          <a:p>
            <a:pPr algn="ctr" defTabSz="1243918"/>
            <a:r>
              <a:rPr lang="en-US" sz="1333" b="0">
                <a:solidFill>
                  <a:schemeClr val="tx1"/>
                </a:solidFill>
                <a:latin typeface="+mn-lt"/>
                <a:cs typeface="Arial" pitchFamily="34" charset="0"/>
              </a:rPr>
              <a:t>239</a:t>
            </a:r>
          </a:p>
        </p:txBody>
      </p:sp>
      <p:sp>
        <p:nvSpPr>
          <p:cNvPr id="15" name="Rectangle 8">
            <a:extLst>
              <a:ext uri="{FF2B5EF4-FFF2-40B4-BE49-F238E27FC236}">
                <a16:creationId xmlns:a16="http://schemas.microsoft.com/office/drawing/2014/main" id="{AB121702-C144-4806-9A2A-B6D43E891230}"/>
              </a:ext>
            </a:extLst>
          </p:cNvPr>
          <p:cNvSpPr>
            <a:spLocks noChangeArrowheads="1"/>
          </p:cNvSpPr>
          <p:nvPr userDrawn="1"/>
        </p:nvSpPr>
        <p:spPr bwMode="gray">
          <a:xfrm>
            <a:off x="-1845616" y="2556595"/>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1</a:t>
            </a:r>
          </a:p>
        </p:txBody>
      </p:sp>
      <p:sp>
        <p:nvSpPr>
          <p:cNvPr id="16" name="ColorBackground1Rectangle">
            <a:extLst>
              <a:ext uri="{FF2B5EF4-FFF2-40B4-BE49-F238E27FC236}">
                <a16:creationId xmlns:a16="http://schemas.microsoft.com/office/drawing/2014/main" id="{966FADC8-AC88-46D2-B476-169A57EFD591}"/>
              </a:ext>
            </a:extLst>
          </p:cNvPr>
          <p:cNvSpPr>
            <a:spLocks noChangeArrowheads="1"/>
          </p:cNvSpPr>
          <p:nvPr userDrawn="1"/>
        </p:nvSpPr>
        <p:spPr bwMode="gray">
          <a:xfrm>
            <a:off x="-1007925" y="3209420"/>
            <a:ext cx="966408" cy="612648"/>
          </a:xfrm>
          <a:prstGeom prst="rect">
            <a:avLst/>
          </a:prstGeom>
          <a:solidFill>
            <a:srgbClr val="10A2ED"/>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16</a:t>
            </a:r>
          </a:p>
          <a:p>
            <a:pPr algn="ctr" defTabSz="1243918"/>
            <a:r>
              <a:rPr lang="en-US" sz="1333" b="1">
                <a:solidFill>
                  <a:schemeClr val="bg1"/>
                </a:solidFill>
                <a:latin typeface="+mn-lt"/>
                <a:cs typeface="Arial" pitchFamily="34" charset="0"/>
              </a:rPr>
              <a:t>162</a:t>
            </a:r>
          </a:p>
          <a:p>
            <a:pPr algn="ctr" defTabSz="1243918"/>
            <a:r>
              <a:rPr lang="en-US" sz="1333" b="1">
                <a:solidFill>
                  <a:schemeClr val="bg1"/>
                </a:solidFill>
                <a:latin typeface="+mn-lt"/>
                <a:cs typeface="Arial" pitchFamily="34" charset="0"/>
              </a:rPr>
              <a:t>237</a:t>
            </a:r>
          </a:p>
        </p:txBody>
      </p:sp>
      <p:sp>
        <p:nvSpPr>
          <p:cNvPr id="17" name="Rectangle 8">
            <a:extLst>
              <a:ext uri="{FF2B5EF4-FFF2-40B4-BE49-F238E27FC236}">
                <a16:creationId xmlns:a16="http://schemas.microsoft.com/office/drawing/2014/main" id="{FE50CA79-5AA9-4979-B8FB-85161AA6A074}"/>
              </a:ext>
            </a:extLst>
          </p:cNvPr>
          <p:cNvSpPr>
            <a:spLocks noChangeArrowheads="1"/>
          </p:cNvSpPr>
          <p:nvPr userDrawn="1"/>
        </p:nvSpPr>
        <p:spPr bwMode="gray">
          <a:xfrm>
            <a:off x="-1845616" y="3197715"/>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2</a:t>
            </a:r>
          </a:p>
        </p:txBody>
      </p:sp>
      <p:sp>
        <p:nvSpPr>
          <p:cNvPr id="18" name="ColorBackground1Rectangle">
            <a:extLst>
              <a:ext uri="{FF2B5EF4-FFF2-40B4-BE49-F238E27FC236}">
                <a16:creationId xmlns:a16="http://schemas.microsoft.com/office/drawing/2014/main" id="{7EAC6C63-2118-45D9-BCE8-5FFA23886A68}"/>
              </a:ext>
            </a:extLst>
          </p:cNvPr>
          <p:cNvSpPr>
            <a:spLocks noChangeArrowheads="1"/>
          </p:cNvSpPr>
          <p:nvPr userDrawn="1"/>
        </p:nvSpPr>
        <p:spPr bwMode="gray">
          <a:xfrm>
            <a:off x="-1007925" y="3859937"/>
            <a:ext cx="966408" cy="612648"/>
          </a:xfrm>
          <a:prstGeom prst="rect">
            <a:avLst/>
          </a:prstGeom>
          <a:solidFill>
            <a:srgbClr val="0063A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99</a:t>
            </a:r>
          </a:p>
          <a:p>
            <a:pPr algn="ctr" defTabSz="1243918"/>
            <a:r>
              <a:rPr lang="en-US" sz="1333" b="1">
                <a:solidFill>
                  <a:schemeClr val="bg1"/>
                </a:solidFill>
                <a:latin typeface="+mn-lt"/>
                <a:cs typeface="Arial" pitchFamily="34" charset="0"/>
              </a:rPr>
              <a:t>175</a:t>
            </a:r>
          </a:p>
        </p:txBody>
      </p:sp>
      <p:sp>
        <p:nvSpPr>
          <p:cNvPr id="19" name="Rectangle 8">
            <a:extLst>
              <a:ext uri="{FF2B5EF4-FFF2-40B4-BE49-F238E27FC236}">
                <a16:creationId xmlns:a16="http://schemas.microsoft.com/office/drawing/2014/main" id="{3CE1C76B-A5B3-40A1-98E5-5257E84BE9F5}"/>
              </a:ext>
            </a:extLst>
          </p:cNvPr>
          <p:cNvSpPr>
            <a:spLocks noChangeArrowheads="1"/>
          </p:cNvSpPr>
          <p:nvPr userDrawn="1"/>
        </p:nvSpPr>
        <p:spPr bwMode="gray">
          <a:xfrm>
            <a:off x="-1845616" y="3848232"/>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3</a:t>
            </a:r>
          </a:p>
        </p:txBody>
      </p:sp>
      <p:sp>
        <p:nvSpPr>
          <p:cNvPr id="20" name="ColorBackground1Rectangle">
            <a:extLst>
              <a:ext uri="{FF2B5EF4-FFF2-40B4-BE49-F238E27FC236}">
                <a16:creationId xmlns:a16="http://schemas.microsoft.com/office/drawing/2014/main" id="{BE39AA17-9B42-48E4-AA8B-7F06C9D10841}"/>
              </a:ext>
            </a:extLst>
          </p:cNvPr>
          <p:cNvSpPr>
            <a:spLocks noChangeArrowheads="1"/>
          </p:cNvSpPr>
          <p:nvPr userDrawn="1"/>
        </p:nvSpPr>
        <p:spPr bwMode="gray">
          <a:xfrm>
            <a:off x="-1007925" y="4510454"/>
            <a:ext cx="966408" cy="612648"/>
          </a:xfrm>
          <a:prstGeom prst="rect">
            <a:avLst/>
          </a:prstGeom>
          <a:solidFill>
            <a:srgbClr val="003C6A"/>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60</a:t>
            </a:r>
          </a:p>
          <a:p>
            <a:pPr algn="ctr" defTabSz="1243918"/>
            <a:r>
              <a:rPr lang="en-US" sz="1333" b="1">
                <a:solidFill>
                  <a:schemeClr val="bg1"/>
                </a:solidFill>
                <a:latin typeface="+mn-lt"/>
                <a:cs typeface="Arial" pitchFamily="34" charset="0"/>
              </a:rPr>
              <a:t>106</a:t>
            </a:r>
          </a:p>
        </p:txBody>
      </p:sp>
      <p:sp>
        <p:nvSpPr>
          <p:cNvPr id="21" name="Rectangle 8">
            <a:extLst>
              <a:ext uri="{FF2B5EF4-FFF2-40B4-BE49-F238E27FC236}">
                <a16:creationId xmlns:a16="http://schemas.microsoft.com/office/drawing/2014/main" id="{726720F9-1515-43CC-AD3D-CD33219B4700}"/>
              </a:ext>
            </a:extLst>
          </p:cNvPr>
          <p:cNvSpPr>
            <a:spLocks noChangeArrowheads="1"/>
          </p:cNvSpPr>
          <p:nvPr userDrawn="1"/>
        </p:nvSpPr>
        <p:spPr bwMode="gray">
          <a:xfrm>
            <a:off x="-1845616" y="4498749"/>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4</a:t>
            </a:r>
          </a:p>
        </p:txBody>
      </p:sp>
      <p:sp>
        <p:nvSpPr>
          <p:cNvPr id="22" name="ColorBackground1Rectangle">
            <a:extLst>
              <a:ext uri="{FF2B5EF4-FFF2-40B4-BE49-F238E27FC236}">
                <a16:creationId xmlns:a16="http://schemas.microsoft.com/office/drawing/2014/main" id="{7CF1419C-B1A6-413F-950F-04839CF9C324}"/>
              </a:ext>
            </a:extLst>
          </p:cNvPr>
          <p:cNvSpPr>
            <a:spLocks noChangeArrowheads="1"/>
          </p:cNvSpPr>
          <p:nvPr userDrawn="1"/>
        </p:nvSpPr>
        <p:spPr bwMode="gray">
          <a:xfrm>
            <a:off x="-1007925" y="5159943"/>
            <a:ext cx="966408" cy="612648"/>
          </a:xfrm>
          <a:prstGeom prst="rect">
            <a:avLst/>
          </a:prstGeom>
          <a:solidFill>
            <a:srgbClr val="A90504"/>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169</a:t>
            </a:r>
          </a:p>
          <a:p>
            <a:pPr algn="ctr" defTabSz="1243918"/>
            <a:r>
              <a:rPr lang="en-US" sz="1333" b="1">
                <a:solidFill>
                  <a:schemeClr val="bg1"/>
                </a:solidFill>
                <a:latin typeface="+mn-lt"/>
                <a:cs typeface="Arial" pitchFamily="34" charset="0"/>
              </a:rPr>
              <a:t>5</a:t>
            </a:r>
          </a:p>
          <a:p>
            <a:pPr algn="ctr" defTabSz="1243918"/>
            <a:r>
              <a:rPr lang="en-US" sz="1333" b="1">
                <a:solidFill>
                  <a:schemeClr val="bg1"/>
                </a:solidFill>
                <a:latin typeface="+mn-lt"/>
                <a:cs typeface="Arial" pitchFamily="34" charset="0"/>
              </a:rPr>
              <a:t>4</a:t>
            </a:r>
          </a:p>
        </p:txBody>
      </p:sp>
      <p:sp>
        <p:nvSpPr>
          <p:cNvPr id="23" name="Rectangle 8">
            <a:extLst>
              <a:ext uri="{FF2B5EF4-FFF2-40B4-BE49-F238E27FC236}">
                <a16:creationId xmlns:a16="http://schemas.microsoft.com/office/drawing/2014/main" id="{BB54C782-C757-42B9-8897-3B6F49BFE103}"/>
              </a:ext>
            </a:extLst>
          </p:cNvPr>
          <p:cNvSpPr>
            <a:spLocks noChangeArrowheads="1"/>
          </p:cNvSpPr>
          <p:nvPr userDrawn="1"/>
        </p:nvSpPr>
        <p:spPr bwMode="gray">
          <a:xfrm>
            <a:off x="-1845616" y="5148238"/>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5</a:t>
            </a:r>
          </a:p>
        </p:txBody>
      </p:sp>
      <p:sp>
        <p:nvSpPr>
          <p:cNvPr id="24" name="ColorBackground1Rectangle">
            <a:extLst>
              <a:ext uri="{FF2B5EF4-FFF2-40B4-BE49-F238E27FC236}">
                <a16:creationId xmlns:a16="http://schemas.microsoft.com/office/drawing/2014/main" id="{BFBBF05B-D271-4FC4-BF15-F4568C9AC311}"/>
              </a:ext>
            </a:extLst>
          </p:cNvPr>
          <p:cNvSpPr>
            <a:spLocks noChangeArrowheads="1"/>
          </p:cNvSpPr>
          <p:nvPr userDrawn="1"/>
        </p:nvSpPr>
        <p:spPr bwMode="gray">
          <a:xfrm>
            <a:off x="-1007925" y="5808349"/>
            <a:ext cx="966408" cy="612648"/>
          </a:xfrm>
          <a:prstGeom prst="rect">
            <a:avLst/>
          </a:prstGeom>
          <a:solidFill>
            <a:srgbClr val="A6A6A6"/>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0">
                <a:solidFill>
                  <a:schemeClr val="tx1"/>
                </a:solidFill>
                <a:latin typeface="+mn-lt"/>
                <a:cs typeface="Arial" pitchFamily="34" charset="0"/>
              </a:rPr>
              <a:t>166</a:t>
            </a:r>
          </a:p>
          <a:p>
            <a:pPr algn="ctr" defTabSz="1243918"/>
            <a:r>
              <a:rPr lang="en-US" sz="1333" b="0">
                <a:solidFill>
                  <a:schemeClr val="tx1"/>
                </a:solidFill>
                <a:latin typeface="+mn-lt"/>
                <a:cs typeface="Arial" pitchFamily="34" charset="0"/>
              </a:rPr>
              <a:t>166</a:t>
            </a:r>
          </a:p>
          <a:p>
            <a:pPr algn="ctr" defTabSz="1243918"/>
            <a:r>
              <a:rPr lang="en-US" sz="1333" b="0">
                <a:solidFill>
                  <a:schemeClr val="tx1"/>
                </a:solidFill>
                <a:latin typeface="+mn-lt"/>
                <a:cs typeface="Arial" pitchFamily="34" charset="0"/>
              </a:rPr>
              <a:t>166</a:t>
            </a:r>
          </a:p>
        </p:txBody>
      </p:sp>
      <p:sp>
        <p:nvSpPr>
          <p:cNvPr id="25" name="Rectangle 8">
            <a:extLst>
              <a:ext uri="{FF2B5EF4-FFF2-40B4-BE49-F238E27FC236}">
                <a16:creationId xmlns:a16="http://schemas.microsoft.com/office/drawing/2014/main" id="{854CC1FF-55A5-4749-9B24-7A6822F600F1}"/>
              </a:ext>
            </a:extLst>
          </p:cNvPr>
          <p:cNvSpPr>
            <a:spLocks noChangeArrowheads="1"/>
          </p:cNvSpPr>
          <p:nvPr userDrawn="1"/>
        </p:nvSpPr>
        <p:spPr bwMode="gray">
          <a:xfrm>
            <a:off x="-1845616" y="5796644"/>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Outline Color</a:t>
            </a:r>
          </a:p>
        </p:txBody>
      </p:sp>
    </p:spTree>
    <p:extLst>
      <p:ext uri="{BB962C8B-B14F-4D97-AF65-F5344CB8AC3E}">
        <p14:creationId xmlns:p14="http://schemas.microsoft.com/office/powerpoint/2010/main" val="2263529673"/>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a:t>Klik for at redigere titeltypografi i masteren</a:t>
            </a:r>
          </a:p>
        </p:txBody>
      </p:sp>
      <p:sp>
        <p:nvSpPr>
          <p:cNvPr id="3" name="Footer Placeholder 2"/>
          <p:cNvSpPr>
            <a:spLocks noGrp="1"/>
          </p:cNvSpPr>
          <p:nvPr>
            <p:ph type="ftr" sz="quarter" idx="10"/>
          </p:nvPr>
        </p:nvSpPr>
        <p:spPr/>
        <p:txBody>
          <a:bodyPr/>
          <a:lstStyle>
            <a:lvl1pPr>
              <a:defRPr/>
            </a:lvl1pPr>
          </a:lstStyle>
          <a:p>
            <a:r>
              <a:rPr lang="da-DK">
                <a:solidFill>
                  <a:srgbClr val="FFFFFF">
                    <a:lumMod val="75000"/>
                  </a:srgbClr>
                </a:solidFill>
              </a:rPr>
              <a:t>Tilføj titel i sidehoved / sidefod</a:t>
            </a:r>
          </a:p>
        </p:txBody>
      </p:sp>
      <p:sp>
        <p:nvSpPr>
          <p:cNvPr id="4" name="Slide Number Placeholder 3"/>
          <p:cNvSpPr>
            <a:spLocks noGrp="1"/>
          </p:cNvSpPr>
          <p:nvPr>
            <p:ph type="sldNum" sz="quarter" idx="11"/>
          </p:nvPr>
        </p:nvSpPr>
        <p:spPr/>
        <p:txBody>
          <a:bodyPr/>
          <a:lstStyle>
            <a:lvl1pPr>
              <a:defRPr/>
            </a:lvl1pPr>
          </a:lstStyle>
          <a:p>
            <a:fld id="{F4A204B1-5332-4199-B5D1-D8BEA3E48DFA}" type="slidenum">
              <a:rPr lang="da-DK">
                <a:solidFill>
                  <a:srgbClr val="FFFFFF"/>
                </a:solidFill>
              </a:rPr>
              <a:pPr/>
              <a:t>‹nr.›</a:t>
            </a:fld>
            <a:endParaRPr lang="da-DK">
              <a:solidFill>
                <a:srgbClr val="FFFFFF"/>
              </a:solidFill>
            </a:endParaRPr>
          </a:p>
        </p:txBody>
      </p:sp>
      <p:sp>
        <p:nvSpPr>
          <p:cNvPr id="5" name="Date Placeholder 4"/>
          <p:cNvSpPr>
            <a:spLocks noGrp="1"/>
          </p:cNvSpPr>
          <p:nvPr>
            <p:ph type="dt" sz="half" idx="12"/>
          </p:nvPr>
        </p:nvSpPr>
        <p:spPr/>
        <p:txBody>
          <a:bodyPr/>
          <a:lstStyle>
            <a:lvl1pPr>
              <a:defRPr/>
            </a:lvl1pPr>
          </a:lstStyle>
          <a:p>
            <a:fld id="{01C62539-3839-4A69-B622-CECAFEE61C44}" type="datetime2">
              <a:rPr lang="da-DK">
                <a:solidFill>
                  <a:srgbClr val="FFFFFF">
                    <a:lumMod val="75000"/>
                  </a:srgbClr>
                </a:solidFill>
              </a:rPr>
              <a:pPr/>
              <a:t>22. november 2023</a:t>
            </a:fld>
            <a:endParaRPr lang="da-DK">
              <a:solidFill>
                <a:srgbClr val="FFFFFF">
                  <a:lumMod val="75000"/>
                </a:srgbClr>
              </a:solidFill>
            </a:endParaRPr>
          </a:p>
        </p:txBody>
      </p:sp>
      <p:sp>
        <p:nvSpPr>
          <p:cNvPr id="8" name="Text Placeholder 9"/>
          <p:cNvSpPr>
            <a:spLocks noGrp="1"/>
          </p:cNvSpPr>
          <p:nvPr>
            <p:ph type="body" sz="quarter" idx="13" hasCustomPrompt="1"/>
          </p:nvPr>
        </p:nvSpPr>
        <p:spPr>
          <a:xfrm>
            <a:off x="575733" y="758826"/>
            <a:ext cx="11049000" cy="413543"/>
          </a:xfrm>
        </p:spPr>
        <p:txBody>
          <a:bodyPr/>
          <a:lstStyle>
            <a:lvl1pPr marL="0" indent="0">
              <a:lnSpc>
                <a:spcPct val="96000"/>
              </a:lnSpc>
              <a:buNone/>
              <a:defRPr sz="1600"/>
            </a:lvl1pPr>
          </a:lstStyle>
          <a:p>
            <a:pPr lvl="0"/>
            <a:r>
              <a:rPr lang="da-DK"/>
              <a:t>Klik for at redigere underoverskriften</a:t>
            </a:r>
            <a:br>
              <a:rPr lang="da-DK"/>
            </a:br>
            <a:endParaRPr lang="da-DK"/>
          </a:p>
        </p:txBody>
      </p:sp>
      <p:sp>
        <p:nvSpPr>
          <p:cNvPr id="10" name="Text Placeholder 8"/>
          <p:cNvSpPr>
            <a:spLocks noGrp="1"/>
          </p:cNvSpPr>
          <p:nvPr>
            <p:ph type="body" sz="quarter" idx="14" hasCustomPrompt="1"/>
          </p:nvPr>
        </p:nvSpPr>
        <p:spPr>
          <a:xfrm>
            <a:off x="564654" y="6208737"/>
            <a:ext cx="9563793" cy="473100"/>
          </a:xfrm>
        </p:spPr>
        <p:txBody>
          <a:bodyPr anchor="b" anchorCtr="0"/>
          <a:lstStyle>
            <a:lvl1pPr marL="0" indent="0">
              <a:lnSpc>
                <a:spcPct val="100000"/>
              </a:lnSpc>
              <a:buNone/>
              <a:defRPr sz="800" baseline="0">
                <a:solidFill>
                  <a:schemeClr val="bg1"/>
                </a:solidFill>
              </a:defRPr>
            </a:lvl1pPr>
          </a:lstStyle>
          <a:p>
            <a:pPr lvl="0"/>
            <a:r>
              <a:rPr lang="da-DK"/>
              <a:t>Her kan placeres 3 linjer tekst. </a:t>
            </a:r>
            <a:r>
              <a:rPr lang="da-DK" err="1"/>
              <a:t>f.eks.noter</a:t>
            </a:r>
            <a:r>
              <a:rPr lang="da-DK"/>
              <a:t> i 2 linjer og kildeangivelse i den tredje.</a:t>
            </a:r>
          </a:p>
        </p:txBody>
      </p:sp>
    </p:spTree>
    <p:extLst>
      <p:ext uri="{BB962C8B-B14F-4D97-AF65-F5344CB8AC3E}">
        <p14:creationId xmlns:p14="http://schemas.microsoft.com/office/powerpoint/2010/main" val="148577592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GB"/>
          </a:p>
        </p:txBody>
      </p:sp>
      <p:sp>
        <p:nvSpPr>
          <p:cNvPr id="5" name="Footer Placeholder 1"/>
          <p:cNvSpPr>
            <a:spLocks noGrp="1"/>
          </p:cNvSpPr>
          <p:nvPr>
            <p:ph type="ftr" sz="quarter" idx="3"/>
          </p:nvPr>
        </p:nvSpPr>
        <p:spPr>
          <a:xfrm>
            <a:off x="1760416" y="6623218"/>
            <a:ext cx="3860800" cy="115195"/>
          </a:xfrm>
          <a:prstGeom prst="rect">
            <a:avLst/>
          </a:prstGeom>
        </p:spPr>
        <p:txBody>
          <a:bodyPr vert="horz" lIns="0" tIns="72000" rIns="36000" bIns="72000" rtlCol="0" anchor="ctr"/>
          <a:lstStyle>
            <a:lvl1pPr algn="l">
              <a:defRPr sz="600">
                <a:solidFill>
                  <a:schemeClr val="bg2"/>
                </a:solidFill>
              </a:defRPr>
            </a:lvl1pPr>
          </a:lstStyle>
          <a:p>
            <a:r>
              <a:rPr lang="en-GB">
                <a:solidFill>
                  <a:schemeClr val="bg2"/>
                </a:solidFill>
              </a:rPr>
              <a:t>Footer appears here</a:t>
            </a:r>
          </a:p>
        </p:txBody>
      </p:sp>
    </p:spTree>
    <p:extLst>
      <p:ext uri="{BB962C8B-B14F-4D97-AF65-F5344CB8AC3E}">
        <p14:creationId xmlns:p14="http://schemas.microsoft.com/office/powerpoint/2010/main" val="2993849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F8A78B-E694-4A57-BF9D-D64E410B2068}"/>
              </a:ext>
            </a:extLst>
          </p:cNvPr>
          <p:cNvSpPr/>
          <p:nvPr userDrawn="1">
            <p:custDataLst>
              <p:tags r:id="rId2"/>
            </p:custDataLst>
          </p:nvPr>
        </p:nvSpPr>
        <p:spPr bwMode="auto">
          <a:xfrm>
            <a:off x="0" y="0"/>
            <a:ext cx="158750" cy="158750"/>
          </a:xfrm>
          <a:prstGeom prst="rect">
            <a:avLst/>
          </a:prstGeom>
          <a:noFill/>
          <a:ln w="6350" cap="flat" cmpd="sng" algn="ctr">
            <a:solidFill>
              <a:schemeClr val="tx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l" defTabSz="914400" rtl="0" eaLnBrk="1" fontAlgn="base" latinLnBrk="0" hangingPunct="1">
              <a:lnSpc>
                <a:spcPct val="96000"/>
              </a:lnSpc>
              <a:spcBef>
                <a:spcPct val="0"/>
              </a:spcBef>
              <a:spcAft>
                <a:spcPct val="0"/>
              </a:spcAft>
              <a:buClrTx/>
              <a:buSzTx/>
              <a:buFontTx/>
              <a:buNone/>
              <a:tabLst/>
            </a:pPr>
            <a:endParaRPr kumimoji="0" lang="en-GB" sz="2700" b="1" i="0" u="none" strike="noStrike" cap="none" normalizeH="0" baseline="0">
              <a:ln>
                <a:noFill/>
              </a:ln>
              <a:solidFill>
                <a:schemeClr val="tx1"/>
              </a:solidFill>
              <a:effectLst/>
              <a:latin typeface="TDC" panose="020B0803060202020204" pitchFamily="34" charset="0"/>
              <a:ea typeface="+mj-ea"/>
              <a:cs typeface="+mj-cs"/>
              <a:sym typeface="TDC" panose="020B0803060202020204" pitchFamily="34" charset="0"/>
            </a:endParaRPr>
          </a:p>
        </p:txBody>
      </p:sp>
      <p:sp>
        <p:nvSpPr>
          <p:cNvPr id="2" name="Title 1"/>
          <p:cNvSpPr>
            <a:spLocks noGrp="1"/>
          </p:cNvSpPr>
          <p:nvPr>
            <p:ph type="title" hasCustomPrompt="1"/>
          </p:nvPr>
        </p:nvSpPr>
        <p:spPr/>
        <p:txBody>
          <a:bodyPr/>
          <a:lstStyle/>
          <a:p>
            <a:r>
              <a:rPr lang="en-GB" noProof="0"/>
              <a:t>Klik for at redigere i master</a:t>
            </a:r>
          </a:p>
        </p:txBody>
      </p:sp>
      <p:sp>
        <p:nvSpPr>
          <p:cNvPr id="5" name="Slide Number Placeholder 4"/>
          <p:cNvSpPr>
            <a:spLocks noGrp="1"/>
          </p:cNvSpPr>
          <p:nvPr>
            <p:ph type="sldNum" sz="quarter" idx="11"/>
          </p:nvPr>
        </p:nvSpPr>
        <p:spPr>
          <a:xfrm>
            <a:off x="11119819" y="6671904"/>
            <a:ext cx="960000" cy="139700"/>
          </a:xfrm>
        </p:spPr>
        <p:txBody>
          <a:bodyPr/>
          <a:lstStyle>
            <a:lvl1pPr algn="r">
              <a:defRPr/>
            </a:lvl1pPr>
          </a:lstStyle>
          <a:p>
            <a:fld id="{4C559319-974E-43DE-8758-BFC4F0130C6A}" type="slidenum">
              <a:rPr lang="en-GB" smtClean="0"/>
              <a:pPr/>
              <a:t>‹nr.›</a:t>
            </a:fld>
            <a:endParaRPr lang="en-GB"/>
          </a:p>
        </p:txBody>
      </p:sp>
      <p:sp>
        <p:nvSpPr>
          <p:cNvPr id="11" name="Text Placeholder 8"/>
          <p:cNvSpPr>
            <a:spLocks noGrp="1"/>
          </p:cNvSpPr>
          <p:nvPr>
            <p:ph type="body" sz="quarter" idx="14" hasCustomPrompt="1"/>
          </p:nvPr>
        </p:nvSpPr>
        <p:spPr>
          <a:xfrm>
            <a:off x="576000" y="6208737"/>
            <a:ext cx="9552447" cy="473100"/>
          </a:xfrm>
        </p:spPr>
        <p:txBody>
          <a:bodyPr anchor="b" anchorCtr="0"/>
          <a:lstStyle>
            <a:lvl1pPr marL="228600" indent="-228600">
              <a:lnSpc>
                <a:spcPct val="100000"/>
              </a:lnSpc>
              <a:spcBef>
                <a:spcPts val="24"/>
              </a:spcBef>
              <a:buFont typeface="+mj-lt"/>
              <a:buAutoNum type="arabicPeriod"/>
              <a:defRPr sz="800" baseline="0">
                <a:solidFill>
                  <a:schemeClr val="tx1"/>
                </a:solidFill>
              </a:defRPr>
            </a:lvl1pPr>
          </a:lstStyle>
          <a:p>
            <a:pPr lvl="0"/>
            <a:r>
              <a:rPr lang="en-GB"/>
              <a:t>Her kan placeres 3 linjer tekst. f.eks. noter i 2 linjer og kildeangivelse i den tredje.</a:t>
            </a:r>
          </a:p>
        </p:txBody>
      </p:sp>
    </p:spTree>
    <p:extLst>
      <p:ext uri="{BB962C8B-B14F-4D97-AF65-F5344CB8AC3E}">
        <p14:creationId xmlns:p14="http://schemas.microsoft.com/office/powerpoint/2010/main" val="15265339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220156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3447100992"/>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329533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spAutoFit/>
          </a:bodyPr>
          <a:lstStyle>
            <a:lvl1pPr>
              <a:defRPr>
                <a:latin typeface="+mj-lt"/>
              </a:defRPr>
            </a:lvl1pPr>
          </a:lstStyle>
          <a:p>
            <a:r>
              <a:rPr lang="da-DK" dirty="0" err="1"/>
              <a:t>Click</a:t>
            </a:r>
            <a:r>
              <a:rPr lang="da-DK" dirty="0"/>
              <a:t> to </a:t>
            </a:r>
            <a:r>
              <a:rPr lang="da-DK" dirty="0" err="1"/>
              <a:t>edit</a:t>
            </a:r>
            <a:r>
              <a:rPr lang="da-DK" dirty="0"/>
              <a:t> Master </a:t>
            </a:r>
            <a:r>
              <a:rPr lang="da-DK" dirty="0" err="1"/>
              <a:t>title</a:t>
            </a:r>
            <a:r>
              <a:rPr lang="da-DK" dirty="0"/>
              <a:t> style</a:t>
            </a: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91511239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7_Titel og indholdsobjek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k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rtlCol="0"/>
          <a:lstStyle/>
          <a:p>
            <a:pPr rtl="0"/>
            <a:r>
              <a:rPr lang="en-gb" noProof="0"/>
              <a:t>Click to edit Master title style</a:t>
            </a:r>
            <a:endParaRPr lang="da-DK" noProof="0"/>
          </a:p>
        </p:txBody>
      </p:sp>
      <p:sp>
        <p:nvSpPr>
          <p:cNvPr id="10" name="Text Placeholder 2"/>
          <p:cNvSpPr>
            <a:spLocks noGrp="1"/>
          </p:cNvSpPr>
          <p:nvPr>
            <p:ph type="body" sz="quarter" idx="13" hasCustomPrompt="1"/>
          </p:nvPr>
        </p:nvSpPr>
        <p:spPr>
          <a:xfrm>
            <a:off x="575733" y="823545"/>
            <a:ext cx="11049000" cy="413543"/>
          </a:xfrm>
        </p:spPr>
        <p:txBody>
          <a:bodyPr rtlCol="0"/>
          <a:lstStyle>
            <a:lvl1pPr marL="0" indent="0">
              <a:lnSpc>
                <a:spcPct val="96000"/>
              </a:lnSpc>
              <a:buNone/>
              <a:defRPr sz="1600"/>
            </a:lvl1pPr>
          </a:lstStyle>
          <a:p>
            <a:pPr lvl="0" rtl="0"/>
            <a:r>
              <a:rPr lang="en-gb"/>
              <a:t>Klik, og tilføj underoverskriften</a:t>
            </a:r>
            <a:br>
              <a:rPr lang="da-DK"/>
            </a:br>
            <a:endParaRPr lang="da-DK"/>
          </a:p>
        </p:txBody>
      </p:sp>
      <p:sp>
        <p:nvSpPr>
          <p:cNvPr id="8" name="Pladsholder til tekst 3"/>
          <p:cNvSpPr>
            <a:spLocks noGrp="1"/>
          </p:cNvSpPr>
          <p:nvPr>
            <p:ph type="body" sz="quarter" idx="15"/>
          </p:nvPr>
        </p:nvSpPr>
        <p:spPr>
          <a:xfrm>
            <a:off x="575733" y="1261470"/>
            <a:ext cx="11049000" cy="1303434"/>
          </a:xfrm>
        </p:spPr>
        <p:txBody>
          <a:bodyPr rtlCol="0">
            <a:sp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p:txBody>
      </p:sp>
      <p:sp>
        <p:nvSpPr>
          <p:cNvPr id="5" name="Slide Number Placeholder 4"/>
          <p:cNvSpPr>
            <a:spLocks noGrp="1"/>
          </p:cNvSpPr>
          <p:nvPr>
            <p:ph type="sldNum" sz="quarter" idx="11"/>
          </p:nvPr>
        </p:nvSpPr>
        <p:spPr>
          <a:xfrm>
            <a:off x="11119819" y="6671904"/>
            <a:ext cx="960000" cy="139700"/>
          </a:xfrm>
        </p:spPr>
        <p:txBody>
          <a:bodyPr rtlCol="0"/>
          <a:lstStyle>
            <a:lvl1pPr algn="r">
              <a:defRPr/>
            </a:lvl1pPr>
          </a:lstStyle>
          <a:p>
            <a:pPr rtl="0"/>
            <a:fld id="{4C559319-974E-43DE-8758-BFC4F0130C6A}" type="slidenum">
              <a:rPr lang="da-DK" smtClean="0"/>
              <a:pPr rtl="0"/>
              <a:t>‹nr.›</a:t>
            </a:fld>
            <a:endParaRPr lang="da-DK"/>
          </a:p>
        </p:txBody>
      </p:sp>
      <p:sp>
        <p:nvSpPr>
          <p:cNvPr id="11" name="Text Placeholder 8"/>
          <p:cNvSpPr>
            <a:spLocks noGrp="1"/>
          </p:cNvSpPr>
          <p:nvPr>
            <p:ph type="body" sz="quarter" idx="14" hasCustomPrompt="1"/>
          </p:nvPr>
        </p:nvSpPr>
        <p:spPr>
          <a:xfrm>
            <a:off x="564654" y="6208737"/>
            <a:ext cx="9563793" cy="473100"/>
          </a:xfrm>
        </p:spPr>
        <p:txBody>
          <a:bodyPr rtlCol="0" anchor="b" anchorCtr="0"/>
          <a:lstStyle>
            <a:lvl1pPr marL="0" indent="0">
              <a:lnSpc>
                <a:spcPct val="100000"/>
              </a:lnSpc>
              <a:buNone/>
              <a:defRPr sz="800" baseline="0">
                <a:solidFill>
                  <a:schemeClr val="bg1"/>
                </a:solidFill>
              </a:defRPr>
            </a:lvl1pPr>
          </a:lstStyle>
          <a:p>
            <a:pPr lvl="0" rtl="0"/>
            <a:r>
              <a:rPr lang="en-gb"/>
              <a:t>Her kan placeres 3 linjer tekst. f.eks noter i 2 linjer og kildeangivelse i den tredje.</a:t>
            </a:r>
          </a:p>
        </p:txBody>
      </p:sp>
    </p:spTree>
    <p:extLst>
      <p:ext uri="{BB962C8B-B14F-4D97-AF65-F5344CB8AC3E}">
        <p14:creationId xmlns:p14="http://schemas.microsoft.com/office/powerpoint/2010/main" val="7234462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93293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We connect Denmark.</a:t>
            </a:r>
          </a:p>
          <a:p>
            <a:pPr algn="r"/>
            <a:r>
              <a:rPr lang="en-GB" sz="1600" i="0" dirty="0">
                <a:solidFill>
                  <a:schemeClr val="bg1"/>
                </a:solidFill>
                <a:latin typeface="+mj-lt"/>
              </a:rPr>
              <a:t>For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557133266"/>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187756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403599435"/>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886967558"/>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4252317859"/>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3870883648"/>
      </p:ext>
    </p:extLst>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585963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804576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724131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829891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4751938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891014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397475918"/>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17568565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90014476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8450752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521252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61B1D526-9715-4C65-83EE-79727CD02D30}"/>
              </a:ext>
            </a:extLst>
          </p:cNvPr>
          <p:cNvSpPr/>
          <p:nvPr userDrawn="1"/>
        </p:nvSpPr>
        <p:spPr>
          <a:xfrm>
            <a:off x="5497830" y="0"/>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38146265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7202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1"/>
                </a:solidFill>
                <a:latin typeface="+mj-lt"/>
              </a:rPr>
              <a:t>We connect Denmark.</a:t>
            </a:r>
          </a:p>
          <a:p>
            <a:pPr algn="r"/>
            <a:r>
              <a:rPr lang="en-GB" sz="2000" i="0">
                <a:solidFill>
                  <a:schemeClr val="accent1"/>
                </a:solidFill>
                <a:latin typeface="+mj-lt"/>
              </a:rPr>
              <a:t>To benefit everyone.</a:t>
            </a:r>
            <a:endParaRPr lang="en-GB" sz="2000" i="0" dirty="0">
              <a:solidFill>
                <a:schemeClr val="accent1"/>
              </a:solidFill>
              <a:latin typeface="+mj-lt"/>
            </a:endParaRP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dirty="0"/>
              <a:t>Click to add title</a:t>
            </a:r>
          </a:p>
        </p:txBody>
      </p:sp>
    </p:spTree>
    <p:extLst>
      <p:ext uri="{BB962C8B-B14F-4D97-AF65-F5344CB8AC3E}">
        <p14:creationId xmlns:p14="http://schemas.microsoft.com/office/powerpoint/2010/main" val="1298471030"/>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75513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3722873721"/>
      </p:ext>
    </p:extLst>
  </p:cSld>
  <p:clrMapOvr>
    <a:masterClrMapping/>
  </p:clrMapOvr>
  <p:hf hd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40125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2"/>
                </a:solidFill>
                <a:latin typeface="+mj-lt"/>
              </a:rPr>
              <a:t>We connect Denmark.</a:t>
            </a:r>
          </a:p>
          <a:p>
            <a:pPr algn="r"/>
            <a:r>
              <a:rPr lang="en-GB" sz="2000" i="0">
                <a:solidFill>
                  <a:schemeClr val="accent2"/>
                </a:solidFill>
                <a:latin typeface="+mj-lt"/>
              </a:rPr>
              <a:t>To benefit everyone.</a:t>
            </a:r>
            <a:endParaRPr lang="en-GB" sz="2000" i="0" dirty="0">
              <a:solidFill>
                <a:schemeClr val="accent2"/>
              </a:solidFill>
              <a:latin typeface="+mj-lt"/>
            </a:endParaRPr>
          </a:p>
        </p:txBody>
      </p:sp>
    </p:spTree>
    <p:extLst>
      <p:ext uri="{BB962C8B-B14F-4D97-AF65-F5344CB8AC3E}">
        <p14:creationId xmlns:p14="http://schemas.microsoft.com/office/powerpoint/2010/main" val="1847850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bg1"/>
                </a:solidFill>
                <a:latin typeface="+mj-lt"/>
              </a:rPr>
              <a:t>We connect Denmark.</a:t>
            </a:r>
          </a:p>
          <a:p>
            <a:pPr algn="r"/>
            <a:r>
              <a:rPr lang="en-GB" sz="2000" i="0" dirty="0">
                <a:solidFill>
                  <a:schemeClr val="bg1"/>
                </a:solidFill>
                <a:latin typeface="+mj-lt"/>
              </a:rPr>
              <a:t>To benefit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4067615400"/>
      </p:ext>
    </p:extLst>
  </p:cSld>
  <p:clrMapOvr>
    <a:masterClrMapping/>
  </p:clrMapOvr>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2492098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2276308790"/>
      </p:ext>
    </p:extLst>
  </p:cSld>
  <p:clrMapOvr>
    <a:masterClrMapping/>
  </p:clrMapOvr>
  <p:hf hdr="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wo Content C">
    <p:spTree>
      <p:nvGrpSpPr>
        <p:cNvPr id="1" name=""/>
        <p:cNvGrpSpPr/>
        <p:nvPr/>
      </p:nvGrpSpPr>
      <p:grpSpPr>
        <a:xfrm>
          <a:off x="0" y="0"/>
          <a:ext cx="0" cy="0"/>
          <a:chOff x="0" y="0"/>
          <a:chExt cx="0" cy="0"/>
        </a:xfrm>
      </p:grpSpPr>
      <p:pic>
        <p:nvPicPr>
          <p:cNvPr id="5" name="Billede 4" descr="Et billede, der indeholder udendørs, strand, felt, mand&#10;&#10;Automatisk genereret beskrivelse">
            <a:extLst>
              <a:ext uri="{FF2B5EF4-FFF2-40B4-BE49-F238E27FC236}">
                <a16:creationId xmlns:a16="http://schemas.microsoft.com/office/drawing/2014/main" id="{5B0117A3-0626-2D43-9A00-0A71BD7CF6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8282" r="8362" b="16644"/>
          <a:stretch/>
        </p:blipFill>
        <p:spPr>
          <a:xfrm>
            <a:off x="0" y="0"/>
            <a:ext cx="6677576" cy="6858000"/>
          </a:xfrm>
          <a:prstGeom prst="rect">
            <a:avLst/>
          </a:prstGeom>
        </p:spPr>
      </p:pic>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11" name="Logo">
            <a:extLst>
              <a:ext uri="{FF2B5EF4-FFF2-40B4-BE49-F238E27FC236}">
                <a16:creationId xmlns:a16="http://schemas.microsoft.com/office/drawing/2014/main" id="{A2EC3281-5937-7846-BBB7-D194965E8D8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10" name="Content Placeholder 2">
            <a:extLst>
              <a:ext uri="{FF2B5EF4-FFF2-40B4-BE49-F238E27FC236}">
                <a16:creationId xmlns:a16="http://schemas.microsoft.com/office/drawing/2014/main" id="{3062EEB9-DA01-4B99-9774-25C8926F6F8F}"/>
              </a:ext>
            </a:extLst>
          </p:cNvPr>
          <p:cNvSpPr>
            <a:spLocks noGrp="1"/>
          </p:cNvSpPr>
          <p:nvPr>
            <p:ph idx="28"/>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2540644460"/>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extLst>
              <p:ext uri="{D42A27DB-BD31-4B8C-83A1-F6EECF244321}">
                <p14:modId xmlns:p14="http://schemas.microsoft.com/office/powerpoint/2010/main" val="1557482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196184C-066E-4F98-A782-4F8EE81C4B45}"/>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6000"/>
              </a:lnSpc>
              <a:spcBef>
                <a:spcPct val="0"/>
              </a:spcBef>
              <a:spcAft>
                <a:spcPct val="0"/>
              </a:spcAft>
            </a:pPr>
            <a:endParaRPr lang="en-US" sz="2700" b="0" i="0" baseline="0" dirty="0" err="1">
              <a:solidFill>
                <a:schemeClr val="bg1"/>
              </a:solidFill>
              <a:latin typeface="TDC" panose="020B0503060202020204" pitchFamily="34" charset="0"/>
              <a:ea typeface="+mj-ea"/>
              <a:cs typeface="+mj-cs"/>
              <a:sym typeface="TDC" panose="020B0503060202020204" pitchFamily="34" charset="0"/>
            </a:endParaRPr>
          </a:p>
        </p:txBody>
      </p:sp>
      <p:sp>
        <p:nvSpPr>
          <p:cNvPr id="2" name="2. Slide Title"/>
          <p:cNvSpPr>
            <a:spLocks noGrp="1"/>
          </p:cNvSpPr>
          <p:nvPr>
            <p:ph type="title"/>
          </p:nvPr>
        </p:nvSpPr>
        <p:spPr bwMode="auto">
          <a:xfrm>
            <a:off x="576000" y="415189"/>
            <a:ext cx="11082600" cy="398892"/>
          </a:xfrm>
        </p:spPr>
        <p:txBody>
          <a:bodyPr/>
          <a:lstStyle/>
          <a:p>
            <a:r>
              <a:rPr lang="en-US"/>
              <a:t>Click to edit Master title style</a:t>
            </a:r>
            <a:endParaRPr lang="en-US"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
        <p:nvSpPr>
          <p:cNvPr id="6" name="Text Placeholder 5">
            <a:extLst>
              <a:ext uri="{FF2B5EF4-FFF2-40B4-BE49-F238E27FC236}">
                <a16:creationId xmlns:a16="http://schemas.microsoft.com/office/drawing/2014/main" id="{EAAA3309-243F-44E4-A456-52CD25ABF6B0}"/>
              </a:ext>
            </a:extLst>
          </p:cNvPr>
          <p:cNvSpPr>
            <a:spLocks noGrp="1"/>
          </p:cNvSpPr>
          <p:nvPr>
            <p:ph type="body" sz="quarter" idx="10"/>
          </p:nvPr>
        </p:nvSpPr>
        <p:spPr>
          <a:xfrm>
            <a:off x="576263" y="1112838"/>
            <a:ext cx="5519737" cy="157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9" name="Text Placeholder 8">
            <a:extLst>
              <a:ext uri="{FF2B5EF4-FFF2-40B4-BE49-F238E27FC236}">
                <a16:creationId xmlns:a16="http://schemas.microsoft.com/office/drawing/2014/main" id="{A7D1A824-694D-4EF3-AC3C-573AA8179913}"/>
              </a:ext>
            </a:extLst>
          </p:cNvPr>
          <p:cNvSpPr>
            <a:spLocks noGrp="1"/>
          </p:cNvSpPr>
          <p:nvPr>
            <p:ph type="body" sz="quarter" idx="11" hasCustomPrompt="1"/>
          </p:nvPr>
        </p:nvSpPr>
        <p:spPr>
          <a:xfrm>
            <a:off x="571500" y="6334125"/>
            <a:ext cx="7339013" cy="115416"/>
          </a:xfrm>
        </p:spPr>
        <p:txBody>
          <a:bodyPr/>
          <a:lstStyle>
            <a:lvl1pPr marL="182880" indent="-182880">
              <a:buClr>
                <a:schemeClr val="accent6"/>
              </a:buClr>
              <a:buFont typeface="+mj-lt"/>
              <a:buAutoNum type="arabicParenR"/>
              <a:defRPr sz="750">
                <a:solidFill>
                  <a:schemeClr val="accent6"/>
                </a:solidFill>
              </a:defRPr>
            </a:lvl1pPr>
            <a:lvl2pPr>
              <a:defRPr sz="800"/>
            </a:lvl2pPr>
            <a:lvl3pPr>
              <a:defRPr sz="800"/>
            </a:lvl3pPr>
            <a:lvl4pPr>
              <a:defRPr sz="800"/>
            </a:lvl4pPr>
            <a:lvl5pPr>
              <a:defRPr sz="800"/>
            </a:lvl5pPr>
          </a:lstStyle>
          <a:p>
            <a:pPr lvl="0"/>
            <a:r>
              <a:rPr lang="en-US" dirty="0"/>
              <a:t>References / footnotes</a:t>
            </a:r>
          </a:p>
        </p:txBody>
      </p:sp>
      <p:sp>
        <p:nvSpPr>
          <p:cNvPr id="33" name="Text Placeholder 32">
            <a:extLst>
              <a:ext uri="{FF2B5EF4-FFF2-40B4-BE49-F238E27FC236}">
                <a16:creationId xmlns:a16="http://schemas.microsoft.com/office/drawing/2014/main" id="{F31F656F-1BAD-4977-81F5-9B00062123BE}"/>
              </a:ext>
            </a:extLst>
          </p:cNvPr>
          <p:cNvSpPr>
            <a:spLocks noGrp="1"/>
          </p:cNvSpPr>
          <p:nvPr>
            <p:ph type="body" sz="quarter" idx="12" hasCustomPrompt="1"/>
          </p:nvPr>
        </p:nvSpPr>
        <p:spPr>
          <a:xfrm>
            <a:off x="576263" y="130403"/>
            <a:ext cx="1846262" cy="143918"/>
          </a:xfrm>
        </p:spPr>
        <p:txBody>
          <a:bodyPr/>
          <a:lstStyle>
            <a:lvl1pPr>
              <a:defRPr sz="800">
                <a:solidFill>
                  <a:schemeClr val="accent6"/>
                </a:solidFill>
              </a:defRPr>
            </a:lvl1pPr>
          </a:lstStyle>
          <a:p>
            <a:pPr lvl="0"/>
            <a:r>
              <a:rPr lang="da-DK" dirty="0"/>
              <a:t>TITLE THEME</a:t>
            </a:r>
          </a:p>
          <a:p>
            <a:pPr lvl="0"/>
            <a:endParaRPr lang="da-DK" dirty="0"/>
          </a:p>
        </p:txBody>
      </p:sp>
    </p:spTree>
    <p:extLst>
      <p:ext uri="{BB962C8B-B14F-4D97-AF65-F5344CB8AC3E}">
        <p14:creationId xmlns:p14="http://schemas.microsoft.com/office/powerpoint/2010/main" val="3757389943"/>
      </p:ext>
    </p:extLst>
  </p:cSld>
  <p:clrMapOvr>
    <a:masterClrMapping/>
  </p:clrMapOvr>
  <p:extLst>
    <p:ext uri="{DCECCB84-F9BA-43D5-87BE-67443E8EF086}">
      <p15:sldGuideLst xmlns:p15="http://schemas.microsoft.com/office/powerpoint/2012/main">
        <p15:guide id="3" orient="horz" pos="583">
          <p15:clr>
            <a:srgbClr val="F26B43"/>
          </p15:clr>
        </p15:guide>
        <p15:guide id="4" orient="horz" pos="3990">
          <p15:clr>
            <a:srgbClr val="F26B43"/>
          </p15:clr>
        </p15:guide>
        <p15:guide id="5" pos="36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extLst>
              <p:ext uri="{D42A27DB-BD31-4B8C-83A1-F6EECF244321}">
                <p14:modId xmlns:p14="http://schemas.microsoft.com/office/powerpoint/2010/main" val="3952977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65456706-CDB5-4764-9159-1E19CD9FE65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a:latin typeface="TDC NET" panose="020B0604020202020204" charset="0"/>
              <a:ea typeface="+mj-ea"/>
              <a:cs typeface="+mj-cs"/>
              <a:sym typeface="TDC NET" panose="020B0604020202020204" charset="0"/>
            </a:endParaRPr>
          </a:p>
        </p:txBody>
      </p:sp>
      <p:sp>
        <p:nvSpPr>
          <p:cNvPr id="2" name="2. Slide Title"/>
          <p:cNvSpPr>
            <a:spLocks noGrp="1"/>
          </p:cNvSpPr>
          <p:nvPr>
            <p:ph type="title" hasCustomPrompt="1"/>
          </p:nvPr>
        </p:nvSpPr>
        <p:spPr bwMode="auto"/>
        <p:txBody>
          <a:bodyPr/>
          <a:lstStyle/>
          <a:p>
            <a:r>
              <a:rPr lang="en-US" dirty="0"/>
              <a:t>Click to edit Master title style</a:t>
            </a:r>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4293302693"/>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307346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a:solidFill>
                  <a:schemeClr val="bg1"/>
                </a:solidFill>
                <a:latin typeface="+mj-lt"/>
              </a:rPr>
              <a:t>We connect Denmark.</a:t>
            </a:r>
          </a:p>
          <a:p>
            <a:pPr algn="r"/>
            <a:r>
              <a:rPr lang="en-GB" sz="1600" i="0">
                <a:solidFill>
                  <a:schemeClr val="bg1"/>
                </a:solidFill>
                <a:latin typeface="+mj-lt"/>
              </a:rPr>
              <a:t>To benefit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45742796"/>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3189389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accent1"/>
                </a:solidFill>
                <a:latin typeface="+mj-lt"/>
              </a:rPr>
              <a:t>We connect Denmark.</a:t>
            </a:r>
          </a:p>
          <a:p>
            <a:pPr lvl="0"/>
            <a:r>
              <a:rPr lang="en-GB">
                <a:solidFill>
                  <a:schemeClr val="accent1"/>
                </a:solidFill>
                <a:latin typeface="+mj-lt"/>
              </a:rPr>
              <a:t>To benefit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717806542"/>
      </p:ext>
    </p:extLst>
  </p:cSld>
  <p:clrMapOvr>
    <a:masterClrMapping/>
  </p:clrMapOvr>
  <p:hf hdr="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accent1"/>
                </a:solidFill>
                <a:latin typeface="+mj-lt"/>
              </a:rPr>
              <a:t>We connect Denmark.</a:t>
            </a:r>
          </a:p>
          <a:p>
            <a:pPr lvl="0"/>
            <a:r>
              <a:rPr lang="en-GB">
                <a:solidFill>
                  <a:schemeClr val="accent1"/>
                </a:solidFill>
                <a:latin typeface="+mj-lt"/>
              </a:rPr>
              <a:t>To benefit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943147407"/>
      </p:ext>
    </p:extLst>
  </p:cSld>
  <p:clrMapOvr>
    <a:masterClrMapping/>
  </p:clrMapOvr>
  <p:hf hdr="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To benefit everyone.</a:t>
            </a:r>
          </a:p>
        </p:txBody>
      </p:sp>
    </p:spTree>
    <p:extLst>
      <p:ext uri="{BB962C8B-B14F-4D97-AF65-F5344CB8AC3E}">
        <p14:creationId xmlns:p14="http://schemas.microsoft.com/office/powerpoint/2010/main" val="3528625457"/>
      </p:ext>
    </p:extLst>
  </p:cSld>
  <p:clrMapOvr>
    <a:masterClrMapping/>
  </p:clrMapOvr>
  <p:hf hdr="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lain A">
    <p:spTree>
      <p:nvGrpSpPr>
        <p:cNvPr id="1" name=""/>
        <p:cNvGrpSpPr/>
        <p:nvPr/>
      </p:nvGrpSpPr>
      <p:grpSpPr>
        <a:xfrm>
          <a:off x="0" y="0"/>
          <a:ext cx="0" cy="0"/>
          <a:chOff x="0" y="0"/>
          <a:chExt cx="0" cy="0"/>
        </a:xfrm>
      </p:grpSpPr>
      <p:pic>
        <p:nvPicPr>
          <p:cNvPr id="3" name="Billede 2" descr="Et billede, der indeholder udendørs, person, stående, går&#10;&#10;Automatisk genereret beskrivelse">
            <a:extLst>
              <a:ext uri="{FF2B5EF4-FFF2-40B4-BE49-F238E27FC236}">
                <a16:creationId xmlns:a16="http://schemas.microsoft.com/office/drawing/2014/main" id="{429CE819-1A73-E944-B695-ADDE1D85D5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3"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For everyone.</a:t>
            </a:r>
          </a:p>
        </p:txBody>
      </p:sp>
    </p:spTree>
    <p:extLst>
      <p:ext uri="{BB962C8B-B14F-4D97-AF65-F5344CB8AC3E}">
        <p14:creationId xmlns:p14="http://schemas.microsoft.com/office/powerpoint/2010/main" val="3509586314"/>
      </p:ext>
    </p:extLst>
  </p:cSld>
  <p:clrMapOvr>
    <a:masterClrMapping/>
  </p:clrMapOvr>
  <p:hf hdr="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To benefit everyone.</a:t>
            </a:r>
          </a:p>
        </p:txBody>
      </p:sp>
    </p:spTree>
    <p:extLst>
      <p:ext uri="{BB962C8B-B14F-4D97-AF65-F5344CB8AC3E}">
        <p14:creationId xmlns:p14="http://schemas.microsoft.com/office/powerpoint/2010/main" val="679245302"/>
      </p:ext>
    </p:extLst>
  </p:cSld>
  <p:clrMapOvr>
    <a:masterClrMapping/>
  </p:clrMapOvr>
  <p:hf hdr="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60132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298766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845240128"/>
      </p:ext>
    </p:extLst>
  </p:cSld>
  <p:clrMapOvr>
    <a:masterClrMapping/>
  </p:clrMapOvr>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402609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9422372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19984793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5050387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99725669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38019381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7976060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Empty slid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EB638F6-ADAD-764C-88BD-1A37871F89BA}"/>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err="1"/>
          </a:p>
        </p:txBody>
      </p:sp>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5" name="Logo">
            <a:extLst>
              <a:ext uri="{FF2B5EF4-FFF2-40B4-BE49-F238E27FC236}">
                <a16:creationId xmlns:a16="http://schemas.microsoft.com/office/drawing/2014/main" id="{92002177-C400-5C4D-B620-734F4B1D02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6" name="Slide Number Placeholder 5 (FAST)">
            <a:extLst>
              <a:ext uri="{FF2B5EF4-FFF2-40B4-BE49-F238E27FC236}">
                <a16:creationId xmlns:a16="http://schemas.microsoft.com/office/drawing/2014/main" id="{11E13C77-20BF-EA47-BEAF-CFBDEA680F2D}"/>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32663374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Empty slid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6EB638F6-ADAD-764C-88BD-1A37871F89B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a:p>
        </p:txBody>
      </p:sp>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5" name="Logo">
            <a:extLst>
              <a:ext uri="{FF2B5EF4-FFF2-40B4-BE49-F238E27FC236}">
                <a16:creationId xmlns:a16="http://schemas.microsoft.com/office/drawing/2014/main" id="{92002177-C400-5C4D-B620-734F4B1D02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6" name="Slide Number Placeholder 5 (FAST)">
            <a:extLst>
              <a:ext uri="{FF2B5EF4-FFF2-40B4-BE49-F238E27FC236}">
                <a16:creationId xmlns:a16="http://schemas.microsoft.com/office/drawing/2014/main" id="{11E13C77-20BF-EA47-BEAF-CFBDEA680F2D}"/>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6769861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20664150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extLst>
              <p:ext uri="{D42A27DB-BD31-4B8C-83A1-F6EECF244321}">
                <p14:modId xmlns:p14="http://schemas.microsoft.com/office/powerpoint/2010/main" val="4114769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8" name="Background">
            <a:extLst>
              <a:ext uri="{FF2B5EF4-FFF2-40B4-BE49-F238E27FC236}">
                <a16:creationId xmlns:a16="http://schemas.microsoft.com/office/drawing/2014/main" id="{61B1D526-9715-4C65-83EE-79727CD02D30}"/>
              </a:ext>
            </a:extLst>
          </p:cNvPr>
          <p:cNvSpPr/>
          <p:nvPr userDrawn="1"/>
        </p:nvSpPr>
        <p:spPr>
          <a:xfrm>
            <a:off x="-17794" y="14471"/>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588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9" name="Content Placeholder 2">
            <a:extLst>
              <a:ext uri="{FF2B5EF4-FFF2-40B4-BE49-F238E27FC236}">
                <a16:creationId xmlns:a16="http://schemas.microsoft.com/office/drawing/2014/main" id="{CD43ADC1-5129-4F29-8E24-1B860028274D}"/>
              </a:ext>
            </a:extLst>
          </p:cNvPr>
          <p:cNvSpPr>
            <a:spLocks noGrp="1"/>
          </p:cNvSpPr>
          <p:nvPr>
            <p:ph idx="27"/>
          </p:nvPr>
        </p:nvSpPr>
        <p:spPr>
          <a:xfrm>
            <a:off x="7259152"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11864763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386453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1038706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ntent C">
    <p:spTree>
      <p:nvGrpSpPr>
        <p:cNvPr id="1" name=""/>
        <p:cNvGrpSpPr/>
        <p:nvPr/>
      </p:nvGrpSpPr>
      <p:grpSpPr>
        <a:xfrm>
          <a:off x="0" y="0"/>
          <a:ext cx="0" cy="0"/>
          <a:chOff x="0" y="0"/>
          <a:chExt cx="0" cy="0"/>
        </a:xfrm>
      </p:grpSpPr>
      <p:pic>
        <p:nvPicPr>
          <p:cNvPr id="5" name="Billede 4" descr="Et billede, der indeholder udendørs, strand, felt, mand&#10;&#10;Automatisk genereret beskrivelse">
            <a:extLst>
              <a:ext uri="{FF2B5EF4-FFF2-40B4-BE49-F238E27FC236}">
                <a16:creationId xmlns:a16="http://schemas.microsoft.com/office/drawing/2014/main" id="{5B0117A3-0626-2D43-9A00-0A71BD7CF6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8282" r="8362" b="16644"/>
          <a:stretch/>
        </p:blipFill>
        <p:spPr>
          <a:xfrm>
            <a:off x="0" y="0"/>
            <a:ext cx="6677576" cy="6858000"/>
          </a:xfrm>
          <a:prstGeom prst="rect">
            <a:avLst/>
          </a:prstGeom>
        </p:spPr>
      </p:pic>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11" name="Logo">
            <a:extLst>
              <a:ext uri="{FF2B5EF4-FFF2-40B4-BE49-F238E27FC236}">
                <a16:creationId xmlns:a16="http://schemas.microsoft.com/office/drawing/2014/main" id="{A2EC3281-5937-7846-BBB7-D194965E8D8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10" name="Content Placeholder 2">
            <a:extLst>
              <a:ext uri="{FF2B5EF4-FFF2-40B4-BE49-F238E27FC236}">
                <a16:creationId xmlns:a16="http://schemas.microsoft.com/office/drawing/2014/main" id="{3062EEB9-DA01-4B99-9774-25C8926F6F8F}"/>
              </a:ext>
            </a:extLst>
          </p:cNvPr>
          <p:cNvSpPr>
            <a:spLocks noGrp="1"/>
          </p:cNvSpPr>
          <p:nvPr>
            <p:ph idx="28"/>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355575051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46431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1"/>
                </a:solidFill>
                <a:latin typeface="+mj-lt"/>
              </a:rPr>
              <a:t>We connect Denmark.</a:t>
            </a:r>
          </a:p>
          <a:p>
            <a:pPr algn="r"/>
            <a:r>
              <a:rPr lang="en-GB" sz="2000" i="0">
                <a:solidFill>
                  <a:schemeClr val="accent1"/>
                </a:solidFill>
                <a:latin typeface="+mj-lt"/>
              </a:rPr>
              <a:t>For everyone.</a:t>
            </a: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a:t>Click to add title</a:t>
            </a:r>
          </a:p>
        </p:txBody>
      </p:sp>
    </p:spTree>
    <p:extLst>
      <p:ext uri="{BB962C8B-B14F-4D97-AF65-F5344CB8AC3E}">
        <p14:creationId xmlns:p14="http://schemas.microsoft.com/office/powerpoint/2010/main" val="3697095144"/>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2972486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19320393"/>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417773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2"/>
                </a:solidFill>
                <a:latin typeface="+mj-lt"/>
              </a:rPr>
              <a:t>We connect Denmark.</a:t>
            </a:r>
          </a:p>
          <a:p>
            <a:pPr algn="r"/>
            <a:r>
              <a:rPr lang="en-GB" sz="2000" i="0">
                <a:solidFill>
                  <a:schemeClr val="accent2"/>
                </a:solidFill>
                <a:latin typeface="+mj-lt"/>
              </a:rPr>
              <a:t>For everyone.</a:t>
            </a:r>
          </a:p>
        </p:txBody>
      </p:sp>
    </p:spTree>
    <p:extLst>
      <p:ext uri="{BB962C8B-B14F-4D97-AF65-F5344CB8AC3E}">
        <p14:creationId xmlns:p14="http://schemas.microsoft.com/office/powerpoint/2010/main" val="14265346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bg1"/>
                </a:solidFill>
                <a:latin typeface="+mj-lt"/>
              </a:rPr>
              <a:t>We connect Denmark.</a:t>
            </a:r>
          </a:p>
          <a:p>
            <a:pPr algn="r"/>
            <a:r>
              <a:rPr lang="en-GB" sz="2000" i="0">
                <a:solidFill>
                  <a:schemeClr val="bg1"/>
                </a:solidFill>
                <a:latin typeface="+mj-lt"/>
              </a:rPr>
              <a:t>To benefit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3843497355"/>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Tree>
    <p:extLst>
      <p:ext uri="{BB962C8B-B14F-4D97-AF65-F5344CB8AC3E}">
        <p14:creationId xmlns:p14="http://schemas.microsoft.com/office/powerpoint/2010/main" val="33155557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da-DK"/>
              <a:t>Klik for at redigere titeltypografien i masteren</a:t>
            </a:r>
            <a:endParaRPr lang="en-US"/>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a:solidFill>
                <a:srgbClr val="808080"/>
              </a:solidFill>
              <a:latin typeface="+mn-lt"/>
              <a:ea typeface="+mn-ea"/>
            </a:endParaRPr>
          </a:p>
        </p:txBody>
      </p:sp>
      <p:sp>
        <p:nvSpPr>
          <p:cNvPr id="6" name="ColorBackground1Rectangle">
            <a:extLst>
              <a:ext uri="{FF2B5EF4-FFF2-40B4-BE49-F238E27FC236}">
                <a16:creationId xmlns:a16="http://schemas.microsoft.com/office/drawing/2014/main" id="{AE47DC73-0D1B-466F-830E-1A0CD1D30BE9}"/>
              </a:ext>
            </a:extLst>
          </p:cNvPr>
          <p:cNvSpPr>
            <a:spLocks noChangeArrowheads="1"/>
          </p:cNvSpPr>
          <p:nvPr userDrawn="1"/>
        </p:nvSpPr>
        <p:spPr bwMode="gray">
          <a:xfrm>
            <a:off x="-1007925" y="-840"/>
            <a:ext cx="966408" cy="610440"/>
          </a:xfrm>
          <a:prstGeom prst="rect">
            <a:avLst/>
          </a:prstGeom>
          <a:solidFill>
            <a:schemeClr val="bg1"/>
          </a:solidFill>
          <a:ln w="9525">
            <a:solidFill>
              <a:srgbClr val="60606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07" tIns="60953" rIns="121907" bIns="60953" numCol="1" anchor="ctr" anchorCtr="0" compatLnSpc="1">
            <a:prstTxWarp prst="textNoShape">
              <a:avLst/>
            </a:prstTxWarp>
            <a:noAutofit/>
          </a:bodyPr>
          <a:lstStyle/>
          <a:p>
            <a:pPr algn="ctr" defTabSz="1243918"/>
            <a:r>
              <a:rPr lang="en-US" sz="1333">
                <a:solidFill>
                  <a:srgbClr val="000000"/>
                </a:solidFill>
                <a:latin typeface="+mn-lt"/>
                <a:cs typeface="Arial" pitchFamily="34" charset="0"/>
              </a:rPr>
              <a:t>255
255
255</a:t>
            </a:r>
          </a:p>
        </p:txBody>
      </p:sp>
      <p:sp>
        <p:nvSpPr>
          <p:cNvPr id="7" name="Rectangle 8">
            <a:extLst>
              <a:ext uri="{FF2B5EF4-FFF2-40B4-BE49-F238E27FC236}">
                <a16:creationId xmlns:a16="http://schemas.microsoft.com/office/drawing/2014/main" id="{8890E92C-BC59-4F8A-A731-AFC224002606}"/>
              </a:ext>
            </a:extLst>
          </p:cNvPr>
          <p:cNvSpPr>
            <a:spLocks noChangeArrowheads="1"/>
          </p:cNvSpPr>
          <p:nvPr userDrawn="1"/>
        </p:nvSpPr>
        <p:spPr bwMode="gray">
          <a:xfrm>
            <a:off x="-1845616" y="-12545"/>
            <a:ext cx="955340" cy="342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Background</a:t>
            </a:r>
          </a:p>
          <a:p>
            <a:pPr defTabSz="1243918"/>
            <a:r>
              <a:rPr lang="en-US" sz="1067">
                <a:latin typeface="+mn-lt"/>
                <a:cs typeface="Arial" pitchFamily="34" charset="0"/>
              </a:rPr>
              <a:t>Color</a:t>
            </a:r>
          </a:p>
        </p:txBody>
      </p:sp>
      <p:sp>
        <p:nvSpPr>
          <p:cNvPr id="8" name="ColorBackground1Rectangle">
            <a:extLst>
              <a:ext uri="{FF2B5EF4-FFF2-40B4-BE49-F238E27FC236}">
                <a16:creationId xmlns:a16="http://schemas.microsoft.com/office/drawing/2014/main" id="{07DC8356-58DE-4943-93FF-997BFFD910EE}"/>
              </a:ext>
            </a:extLst>
          </p:cNvPr>
          <p:cNvSpPr>
            <a:spLocks noChangeArrowheads="1"/>
          </p:cNvSpPr>
          <p:nvPr userDrawn="1"/>
        </p:nvSpPr>
        <p:spPr bwMode="gray">
          <a:xfrm>
            <a:off x="-1007925" y="639114"/>
            <a:ext cx="966408" cy="612648"/>
          </a:xfrm>
          <a:prstGeom prst="rect">
            <a:avLst/>
          </a:prstGeom>
          <a:solidFill>
            <a:srgbClr val="000000"/>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a:solidFill>
                  <a:schemeClr val="bg1"/>
                </a:solidFill>
                <a:latin typeface="+mn-lt"/>
                <a:cs typeface="Arial" pitchFamily="34" charset="0"/>
              </a:rPr>
              <a:t>0</a:t>
            </a:r>
          </a:p>
          <a:p>
            <a:pPr algn="ctr" defTabSz="1243918"/>
            <a:r>
              <a:rPr lang="en-US" sz="1333">
                <a:solidFill>
                  <a:schemeClr val="bg1"/>
                </a:solidFill>
                <a:latin typeface="+mn-lt"/>
                <a:cs typeface="Arial" pitchFamily="34" charset="0"/>
              </a:rPr>
              <a:t>0</a:t>
            </a:r>
          </a:p>
          <a:p>
            <a:pPr algn="ctr" defTabSz="1243918"/>
            <a:r>
              <a:rPr lang="en-US" sz="1333">
                <a:solidFill>
                  <a:schemeClr val="bg1"/>
                </a:solidFill>
                <a:latin typeface="+mn-lt"/>
                <a:cs typeface="Arial" pitchFamily="34" charset="0"/>
              </a:rPr>
              <a:t>0</a:t>
            </a:r>
          </a:p>
        </p:txBody>
      </p:sp>
      <p:sp>
        <p:nvSpPr>
          <p:cNvPr id="9" name="Rectangle 8">
            <a:extLst>
              <a:ext uri="{FF2B5EF4-FFF2-40B4-BE49-F238E27FC236}">
                <a16:creationId xmlns:a16="http://schemas.microsoft.com/office/drawing/2014/main" id="{8347244E-DFB4-489B-973B-381AA9ADF6FB}"/>
              </a:ext>
            </a:extLst>
          </p:cNvPr>
          <p:cNvSpPr>
            <a:spLocks noChangeArrowheads="1"/>
          </p:cNvSpPr>
          <p:nvPr userDrawn="1"/>
        </p:nvSpPr>
        <p:spPr bwMode="gray">
          <a:xfrm>
            <a:off x="-1845616" y="627409"/>
            <a:ext cx="955340" cy="328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Default text</a:t>
            </a:r>
          </a:p>
          <a:p>
            <a:pPr defTabSz="1243918"/>
            <a:r>
              <a:rPr lang="en-US" sz="1067">
                <a:latin typeface="+mn-lt"/>
                <a:cs typeface="Arial" pitchFamily="34" charset="0"/>
              </a:rPr>
              <a:t>Color</a:t>
            </a:r>
          </a:p>
        </p:txBody>
      </p:sp>
      <p:sp>
        <p:nvSpPr>
          <p:cNvPr id="10" name="ColorBackground1Rectangle">
            <a:extLst>
              <a:ext uri="{FF2B5EF4-FFF2-40B4-BE49-F238E27FC236}">
                <a16:creationId xmlns:a16="http://schemas.microsoft.com/office/drawing/2014/main" id="{1C52D22B-0139-4499-B806-BCED7EED7EF7}"/>
              </a:ext>
            </a:extLst>
          </p:cNvPr>
          <p:cNvSpPr>
            <a:spLocks noChangeArrowheads="1"/>
          </p:cNvSpPr>
          <p:nvPr userDrawn="1"/>
        </p:nvSpPr>
        <p:spPr bwMode="gray">
          <a:xfrm>
            <a:off x="-1007925" y="1276728"/>
            <a:ext cx="966408" cy="612648"/>
          </a:xfrm>
          <a:prstGeom prst="rect">
            <a:avLst/>
          </a:prstGeom>
          <a:solidFill>
            <a:srgbClr val="E9F1E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a:solidFill>
                  <a:schemeClr val="tx1"/>
                </a:solidFill>
                <a:latin typeface="+mn-lt"/>
                <a:cs typeface="Arial" pitchFamily="34" charset="0"/>
              </a:rPr>
              <a:t>233</a:t>
            </a:r>
          </a:p>
          <a:p>
            <a:pPr algn="ctr" defTabSz="1243918"/>
            <a:r>
              <a:rPr lang="en-US" sz="1333">
                <a:solidFill>
                  <a:schemeClr val="tx1"/>
                </a:solidFill>
                <a:latin typeface="+mn-lt"/>
                <a:cs typeface="Arial" pitchFamily="34" charset="0"/>
              </a:rPr>
              <a:t>241</a:t>
            </a:r>
          </a:p>
          <a:p>
            <a:pPr algn="ctr" defTabSz="1243918"/>
            <a:r>
              <a:rPr lang="en-US" sz="1333">
                <a:solidFill>
                  <a:schemeClr val="tx1"/>
                </a:solidFill>
                <a:latin typeface="+mn-lt"/>
                <a:cs typeface="Arial" pitchFamily="34" charset="0"/>
              </a:rPr>
              <a:t>239</a:t>
            </a:r>
          </a:p>
        </p:txBody>
      </p:sp>
      <p:sp>
        <p:nvSpPr>
          <p:cNvPr id="11" name="Rectangle 8">
            <a:extLst>
              <a:ext uri="{FF2B5EF4-FFF2-40B4-BE49-F238E27FC236}">
                <a16:creationId xmlns:a16="http://schemas.microsoft.com/office/drawing/2014/main" id="{BDACE4AB-596B-4DBA-9E17-939EC0C3BB5B}"/>
              </a:ext>
            </a:extLst>
          </p:cNvPr>
          <p:cNvSpPr>
            <a:spLocks noChangeArrowheads="1"/>
          </p:cNvSpPr>
          <p:nvPr userDrawn="1"/>
        </p:nvSpPr>
        <p:spPr bwMode="gray">
          <a:xfrm>
            <a:off x="-1845616" y="1265023"/>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Background 2</a:t>
            </a:r>
          </a:p>
        </p:txBody>
      </p:sp>
      <p:sp>
        <p:nvSpPr>
          <p:cNvPr id="12" name="ColorBackground1Rectangle">
            <a:extLst>
              <a:ext uri="{FF2B5EF4-FFF2-40B4-BE49-F238E27FC236}">
                <a16:creationId xmlns:a16="http://schemas.microsoft.com/office/drawing/2014/main" id="{241194B4-DC84-4DC8-8921-7876917D3D2E}"/>
              </a:ext>
            </a:extLst>
          </p:cNvPr>
          <p:cNvSpPr>
            <a:spLocks noChangeArrowheads="1"/>
          </p:cNvSpPr>
          <p:nvPr userDrawn="1"/>
        </p:nvSpPr>
        <p:spPr bwMode="gray">
          <a:xfrm>
            <a:off x="-1007925" y="1924152"/>
            <a:ext cx="966408" cy="612648"/>
          </a:xfrm>
          <a:prstGeom prst="rect">
            <a:avLst/>
          </a:prstGeom>
          <a:solidFill>
            <a:srgbClr val="0063A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99</a:t>
            </a:r>
          </a:p>
          <a:p>
            <a:pPr algn="ctr" defTabSz="1243918"/>
            <a:r>
              <a:rPr lang="en-US" sz="1333" b="1">
                <a:solidFill>
                  <a:schemeClr val="bg1"/>
                </a:solidFill>
                <a:latin typeface="+mn-lt"/>
                <a:cs typeface="Arial" pitchFamily="34" charset="0"/>
              </a:rPr>
              <a:t>175</a:t>
            </a:r>
          </a:p>
        </p:txBody>
      </p:sp>
      <p:sp>
        <p:nvSpPr>
          <p:cNvPr id="13" name="Rectangle 8">
            <a:extLst>
              <a:ext uri="{FF2B5EF4-FFF2-40B4-BE49-F238E27FC236}">
                <a16:creationId xmlns:a16="http://schemas.microsoft.com/office/drawing/2014/main" id="{0F18EFA4-544D-45E4-BFAD-AE163C122C0C}"/>
              </a:ext>
            </a:extLst>
          </p:cNvPr>
          <p:cNvSpPr>
            <a:spLocks noChangeArrowheads="1"/>
          </p:cNvSpPr>
          <p:nvPr userDrawn="1"/>
        </p:nvSpPr>
        <p:spPr bwMode="gray">
          <a:xfrm>
            <a:off x="-1845616" y="1912447"/>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Title Color</a:t>
            </a:r>
          </a:p>
        </p:txBody>
      </p:sp>
      <p:sp>
        <p:nvSpPr>
          <p:cNvPr id="14" name="ColorBackground1Rectangle">
            <a:extLst>
              <a:ext uri="{FF2B5EF4-FFF2-40B4-BE49-F238E27FC236}">
                <a16:creationId xmlns:a16="http://schemas.microsoft.com/office/drawing/2014/main" id="{8EBEB7E3-E6D7-4DAD-8A5A-9319174A181C}"/>
              </a:ext>
            </a:extLst>
          </p:cNvPr>
          <p:cNvSpPr>
            <a:spLocks noChangeArrowheads="1"/>
          </p:cNvSpPr>
          <p:nvPr userDrawn="1"/>
        </p:nvSpPr>
        <p:spPr bwMode="gray">
          <a:xfrm>
            <a:off x="-1007925" y="2568300"/>
            <a:ext cx="966408" cy="612648"/>
          </a:xfrm>
          <a:prstGeom prst="rect">
            <a:avLst/>
          </a:prstGeom>
          <a:solidFill>
            <a:srgbClr val="99CCE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0">
                <a:solidFill>
                  <a:schemeClr val="tx1"/>
                </a:solidFill>
                <a:latin typeface="+mn-lt"/>
                <a:cs typeface="Arial" pitchFamily="34" charset="0"/>
              </a:rPr>
              <a:t>153</a:t>
            </a:r>
          </a:p>
          <a:p>
            <a:pPr algn="ctr" defTabSz="1243918"/>
            <a:r>
              <a:rPr lang="en-US" sz="1333" b="0">
                <a:solidFill>
                  <a:schemeClr val="tx1"/>
                </a:solidFill>
                <a:latin typeface="+mn-lt"/>
                <a:cs typeface="Arial" pitchFamily="34" charset="0"/>
              </a:rPr>
              <a:t>204</a:t>
            </a:r>
          </a:p>
          <a:p>
            <a:pPr algn="ctr" defTabSz="1243918"/>
            <a:r>
              <a:rPr lang="en-US" sz="1333" b="0">
                <a:solidFill>
                  <a:schemeClr val="tx1"/>
                </a:solidFill>
                <a:latin typeface="+mn-lt"/>
                <a:cs typeface="Arial" pitchFamily="34" charset="0"/>
              </a:rPr>
              <a:t>239</a:t>
            </a:r>
          </a:p>
        </p:txBody>
      </p:sp>
      <p:sp>
        <p:nvSpPr>
          <p:cNvPr id="15" name="Rectangle 8">
            <a:extLst>
              <a:ext uri="{FF2B5EF4-FFF2-40B4-BE49-F238E27FC236}">
                <a16:creationId xmlns:a16="http://schemas.microsoft.com/office/drawing/2014/main" id="{AB121702-C144-4806-9A2A-B6D43E891230}"/>
              </a:ext>
            </a:extLst>
          </p:cNvPr>
          <p:cNvSpPr>
            <a:spLocks noChangeArrowheads="1"/>
          </p:cNvSpPr>
          <p:nvPr userDrawn="1"/>
        </p:nvSpPr>
        <p:spPr bwMode="gray">
          <a:xfrm>
            <a:off x="-1845616" y="2556595"/>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1</a:t>
            </a:r>
          </a:p>
        </p:txBody>
      </p:sp>
      <p:sp>
        <p:nvSpPr>
          <p:cNvPr id="16" name="ColorBackground1Rectangle">
            <a:extLst>
              <a:ext uri="{FF2B5EF4-FFF2-40B4-BE49-F238E27FC236}">
                <a16:creationId xmlns:a16="http://schemas.microsoft.com/office/drawing/2014/main" id="{966FADC8-AC88-46D2-B476-169A57EFD591}"/>
              </a:ext>
            </a:extLst>
          </p:cNvPr>
          <p:cNvSpPr>
            <a:spLocks noChangeArrowheads="1"/>
          </p:cNvSpPr>
          <p:nvPr userDrawn="1"/>
        </p:nvSpPr>
        <p:spPr bwMode="gray">
          <a:xfrm>
            <a:off x="-1007925" y="3209420"/>
            <a:ext cx="966408" cy="612648"/>
          </a:xfrm>
          <a:prstGeom prst="rect">
            <a:avLst/>
          </a:prstGeom>
          <a:solidFill>
            <a:srgbClr val="10A2ED"/>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16</a:t>
            </a:r>
          </a:p>
          <a:p>
            <a:pPr algn="ctr" defTabSz="1243918"/>
            <a:r>
              <a:rPr lang="en-US" sz="1333" b="1">
                <a:solidFill>
                  <a:schemeClr val="bg1"/>
                </a:solidFill>
                <a:latin typeface="+mn-lt"/>
                <a:cs typeface="Arial" pitchFamily="34" charset="0"/>
              </a:rPr>
              <a:t>162</a:t>
            </a:r>
          </a:p>
          <a:p>
            <a:pPr algn="ctr" defTabSz="1243918"/>
            <a:r>
              <a:rPr lang="en-US" sz="1333" b="1">
                <a:solidFill>
                  <a:schemeClr val="bg1"/>
                </a:solidFill>
                <a:latin typeface="+mn-lt"/>
                <a:cs typeface="Arial" pitchFamily="34" charset="0"/>
              </a:rPr>
              <a:t>237</a:t>
            </a:r>
          </a:p>
        </p:txBody>
      </p:sp>
      <p:sp>
        <p:nvSpPr>
          <p:cNvPr id="17" name="Rectangle 8">
            <a:extLst>
              <a:ext uri="{FF2B5EF4-FFF2-40B4-BE49-F238E27FC236}">
                <a16:creationId xmlns:a16="http://schemas.microsoft.com/office/drawing/2014/main" id="{FE50CA79-5AA9-4979-B8FB-85161AA6A074}"/>
              </a:ext>
            </a:extLst>
          </p:cNvPr>
          <p:cNvSpPr>
            <a:spLocks noChangeArrowheads="1"/>
          </p:cNvSpPr>
          <p:nvPr userDrawn="1"/>
        </p:nvSpPr>
        <p:spPr bwMode="gray">
          <a:xfrm>
            <a:off x="-1845616" y="3197715"/>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2</a:t>
            </a:r>
          </a:p>
        </p:txBody>
      </p:sp>
      <p:sp>
        <p:nvSpPr>
          <p:cNvPr id="18" name="ColorBackground1Rectangle">
            <a:extLst>
              <a:ext uri="{FF2B5EF4-FFF2-40B4-BE49-F238E27FC236}">
                <a16:creationId xmlns:a16="http://schemas.microsoft.com/office/drawing/2014/main" id="{7EAC6C63-2118-45D9-BCE8-5FFA23886A68}"/>
              </a:ext>
            </a:extLst>
          </p:cNvPr>
          <p:cNvSpPr>
            <a:spLocks noChangeArrowheads="1"/>
          </p:cNvSpPr>
          <p:nvPr userDrawn="1"/>
        </p:nvSpPr>
        <p:spPr bwMode="gray">
          <a:xfrm>
            <a:off x="-1007925" y="3859937"/>
            <a:ext cx="966408" cy="612648"/>
          </a:xfrm>
          <a:prstGeom prst="rect">
            <a:avLst/>
          </a:prstGeom>
          <a:solidFill>
            <a:srgbClr val="0063AF"/>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99</a:t>
            </a:r>
          </a:p>
          <a:p>
            <a:pPr algn="ctr" defTabSz="1243918"/>
            <a:r>
              <a:rPr lang="en-US" sz="1333" b="1">
                <a:solidFill>
                  <a:schemeClr val="bg1"/>
                </a:solidFill>
                <a:latin typeface="+mn-lt"/>
                <a:cs typeface="Arial" pitchFamily="34" charset="0"/>
              </a:rPr>
              <a:t>175</a:t>
            </a:r>
          </a:p>
        </p:txBody>
      </p:sp>
      <p:sp>
        <p:nvSpPr>
          <p:cNvPr id="19" name="Rectangle 8">
            <a:extLst>
              <a:ext uri="{FF2B5EF4-FFF2-40B4-BE49-F238E27FC236}">
                <a16:creationId xmlns:a16="http://schemas.microsoft.com/office/drawing/2014/main" id="{3CE1C76B-A5B3-40A1-98E5-5257E84BE9F5}"/>
              </a:ext>
            </a:extLst>
          </p:cNvPr>
          <p:cNvSpPr>
            <a:spLocks noChangeArrowheads="1"/>
          </p:cNvSpPr>
          <p:nvPr userDrawn="1"/>
        </p:nvSpPr>
        <p:spPr bwMode="gray">
          <a:xfrm>
            <a:off x="-1845616" y="3848232"/>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3</a:t>
            </a:r>
          </a:p>
        </p:txBody>
      </p:sp>
      <p:sp>
        <p:nvSpPr>
          <p:cNvPr id="20" name="ColorBackground1Rectangle">
            <a:extLst>
              <a:ext uri="{FF2B5EF4-FFF2-40B4-BE49-F238E27FC236}">
                <a16:creationId xmlns:a16="http://schemas.microsoft.com/office/drawing/2014/main" id="{BE39AA17-9B42-48E4-AA8B-7F06C9D10841}"/>
              </a:ext>
            </a:extLst>
          </p:cNvPr>
          <p:cNvSpPr>
            <a:spLocks noChangeArrowheads="1"/>
          </p:cNvSpPr>
          <p:nvPr userDrawn="1"/>
        </p:nvSpPr>
        <p:spPr bwMode="gray">
          <a:xfrm>
            <a:off x="-1007925" y="4510454"/>
            <a:ext cx="966408" cy="612648"/>
          </a:xfrm>
          <a:prstGeom prst="rect">
            <a:avLst/>
          </a:prstGeom>
          <a:solidFill>
            <a:srgbClr val="003C6A"/>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0</a:t>
            </a:r>
          </a:p>
          <a:p>
            <a:pPr algn="ctr" defTabSz="1243918"/>
            <a:r>
              <a:rPr lang="en-US" sz="1333" b="1">
                <a:solidFill>
                  <a:schemeClr val="bg1"/>
                </a:solidFill>
                <a:latin typeface="+mn-lt"/>
                <a:cs typeface="Arial" pitchFamily="34" charset="0"/>
              </a:rPr>
              <a:t>60</a:t>
            </a:r>
          </a:p>
          <a:p>
            <a:pPr algn="ctr" defTabSz="1243918"/>
            <a:r>
              <a:rPr lang="en-US" sz="1333" b="1">
                <a:solidFill>
                  <a:schemeClr val="bg1"/>
                </a:solidFill>
                <a:latin typeface="+mn-lt"/>
                <a:cs typeface="Arial" pitchFamily="34" charset="0"/>
              </a:rPr>
              <a:t>106</a:t>
            </a:r>
          </a:p>
        </p:txBody>
      </p:sp>
      <p:sp>
        <p:nvSpPr>
          <p:cNvPr id="21" name="Rectangle 8">
            <a:extLst>
              <a:ext uri="{FF2B5EF4-FFF2-40B4-BE49-F238E27FC236}">
                <a16:creationId xmlns:a16="http://schemas.microsoft.com/office/drawing/2014/main" id="{726720F9-1515-43CC-AD3D-CD33219B4700}"/>
              </a:ext>
            </a:extLst>
          </p:cNvPr>
          <p:cNvSpPr>
            <a:spLocks noChangeArrowheads="1"/>
          </p:cNvSpPr>
          <p:nvPr userDrawn="1"/>
        </p:nvSpPr>
        <p:spPr bwMode="gray">
          <a:xfrm>
            <a:off x="-1845616" y="4498749"/>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4</a:t>
            </a:r>
          </a:p>
        </p:txBody>
      </p:sp>
      <p:sp>
        <p:nvSpPr>
          <p:cNvPr id="22" name="ColorBackground1Rectangle">
            <a:extLst>
              <a:ext uri="{FF2B5EF4-FFF2-40B4-BE49-F238E27FC236}">
                <a16:creationId xmlns:a16="http://schemas.microsoft.com/office/drawing/2014/main" id="{7CF1419C-B1A6-413F-950F-04839CF9C324}"/>
              </a:ext>
            </a:extLst>
          </p:cNvPr>
          <p:cNvSpPr>
            <a:spLocks noChangeArrowheads="1"/>
          </p:cNvSpPr>
          <p:nvPr userDrawn="1"/>
        </p:nvSpPr>
        <p:spPr bwMode="gray">
          <a:xfrm>
            <a:off x="-1007925" y="5159943"/>
            <a:ext cx="966408" cy="612648"/>
          </a:xfrm>
          <a:prstGeom prst="rect">
            <a:avLst/>
          </a:prstGeom>
          <a:solidFill>
            <a:srgbClr val="A90504"/>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1">
                <a:solidFill>
                  <a:schemeClr val="bg1"/>
                </a:solidFill>
                <a:latin typeface="+mn-lt"/>
                <a:cs typeface="Arial" pitchFamily="34" charset="0"/>
              </a:rPr>
              <a:t>169</a:t>
            </a:r>
          </a:p>
          <a:p>
            <a:pPr algn="ctr" defTabSz="1243918"/>
            <a:r>
              <a:rPr lang="en-US" sz="1333" b="1">
                <a:solidFill>
                  <a:schemeClr val="bg1"/>
                </a:solidFill>
                <a:latin typeface="+mn-lt"/>
                <a:cs typeface="Arial" pitchFamily="34" charset="0"/>
              </a:rPr>
              <a:t>5</a:t>
            </a:r>
          </a:p>
          <a:p>
            <a:pPr algn="ctr" defTabSz="1243918"/>
            <a:r>
              <a:rPr lang="en-US" sz="1333" b="1">
                <a:solidFill>
                  <a:schemeClr val="bg1"/>
                </a:solidFill>
                <a:latin typeface="+mn-lt"/>
                <a:cs typeface="Arial" pitchFamily="34" charset="0"/>
              </a:rPr>
              <a:t>4</a:t>
            </a:r>
          </a:p>
        </p:txBody>
      </p:sp>
      <p:sp>
        <p:nvSpPr>
          <p:cNvPr id="23" name="Rectangle 8">
            <a:extLst>
              <a:ext uri="{FF2B5EF4-FFF2-40B4-BE49-F238E27FC236}">
                <a16:creationId xmlns:a16="http://schemas.microsoft.com/office/drawing/2014/main" id="{BB54C782-C757-42B9-8897-3B6F49BFE103}"/>
              </a:ext>
            </a:extLst>
          </p:cNvPr>
          <p:cNvSpPr>
            <a:spLocks noChangeArrowheads="1"/>
          </p:cNvSpPr>
          <p:nvPr userDrawn="1"/>
        </p:nvSpPr>
        <p:spPr bwMode="gray">
          <a:xfrm>
            <a:off x="-1845616" y="5148238"/>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Accent 5</a:t>
            </a:r>
          </a:p>
        </p:txBody>
      </p:sp>
      <p:sp>
        <p:nvSpPr>
          <p:cNvPr id="24" name="ColorBackground1Rectangle">
            <a:extLst>
              <a:ext uri="{FF2B5EF4-FFF2-40B4-BE49-F238E27FC236}">
                <a16:creationId xmlns:a16="http://schemas.microsoft.com/office/drawing/2014/main" id="{BFBBF05B-D271-4FC4-BF15-F4568C9AC311}"/>
              </a:ext>
            </a:extLst>
          </p:cNvPr>
          <p:cNvSpPr>
            <a:spLocks noChangeArrowheads="1"/>
          </p:cNvSpPr>
          <p:nvPr userDrawn="1"/>
        </p:nvSpPr>
        <p:spPr bwMode="gray">
          <a:xfrm>
            <a:off x="-1007925" y="5808349"/>
            <a:ext cx="966408" cy="612648"/>
          </a:xfrm>
          <a:prstGeom prst="rect">
            <a:avLst/>
          </a:prstGeom>
          <a:solidFill>
            <a:srgbClr val="A6A6A6"/>
          </a:solidFill>
          <a:ln w="9525">
            <a:solidFill>
              <a:srgbClr val="606060"/>
            </a:solidFill>
            <a:miter lim="800000"/>
            <a:headEnd/>
            <a:tailEnd/>
          </a:ln>
          <a:effectLst/>
        </p:spPr>
        <p:txBody>
          <a:bodyPr vert="horz" wrap="none" lIns="121907" tIns="60953" rIns="121907" bIns="60953" numCol="1" anchor="ctr" anchorCtr="0" compatLnSpc="1">
            <a:prstTxWarp prst="textNoShape">
              <a:avLst/>
            </a:prstTxWarp>
            <a:noAutofit/>
          </a:bodyPr>
          <a:lstStyle/>
          <a:p>
            <a:pPr algn="ctr" defTabSz="1243918"/>
            <a:r>
              <a:rPr lang="en-US" sz="1333" b="0">
                <a:solidFill>
                  <a:schemeClr val="tx1"/>
                </a:solidFill>
                <a:latin typeface="+mn-lt"/>
                <a:cs typeface="Arial" pitchFamily="34" charset="0"/>
              </a:rPr>
              <a:t>166</a:t>
            </a:r>
          </a:p>
          <a:p>
            <a:pPr algn="ctr" defTabSz="1243918"/>
            <a:r>
              <a:rPr lang="en-US" sz="1333" b="0">
                <a:solidFill>
                  <a:schemeClr val="tx1"/>
                </a:solidFill>
                <a:latin typeface="+mn-lt"/>
                <a:cs typeface="Arial" pitchFamily="34" charset="0"/>
              </a:rPr>
              <a:t>166</a:t>
            </a:r>
          </a:p>
          <a:p>
            <a:pPr algn="ctr" defTabSz="1243918"/>
            <a:r>
              <a:rPr lang="en-US" sz="1333" b="0">
                <a:solidFill>
                  <a:schemeClr val="tx1"/>
                </a:solidFill>
                <a:latin typeface="+mn-lt"/>
                <a:cs typeface="Arial" pitchFamily="34" charset="0"/>
              </a:rPr>
              <a:t>166</a:t>
            </a:r>
          </a:p>
        </p:txBody>
      </p:sp>
      <p:sp>
        <p:nvSpPr>
          <p:cNvPr id="25" name="Rectangle 8">
            <a:extLst>
              <a:ext uri="{FF2B5EF4-FFF2-40B4-BE49-F238E27FC236}">
                <a16:creationId xmlns:a16="http://schemas.microsoft.com/office/drawing/2014/main" id="{854CC1FF-55A5-4749-9B24-7A6822F600F1}"/>
              </a:ext>
            </a:extLst>
          </p:cNvPr>
          <p:cNvSpPr>
            <a:spLocks noChangeArrowheads="1"/>
          </p:cNvSpPr>
          <p:nvPr userDrawn="1"/>
        </p:nvSpPr>
        <p:spPr bwMode="gray">
          <a:xfrm>
            <a:off x="-1845616" y="5796644"/>
            <a:ext cx="955340"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1243918"/>
            <a:r>
              <a:rPr lang="en-US" sz="1067">
                <a:latin typeface="+mn-lt"/>
                <a:cs typeface="Arial" pitchFamily="34" charset="0"/>
              </a:rPr>
              <a:t>Outline Color</a:t>
            </a:r>
          </a:p>
        </p:txBody>
      </p:sp>
    </p:spTree>
    <p:extLst>
      <p:ext uri="{BB962C8B-B14F-4D97-AF65-F5344CB8AC3E}">
        <p14:creationId xmlns:p14="http://schemas.microsoft.com/office/powerpoint/2010/main" val="106059919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225413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dirty="0">
                <a:solidFill>
                  <a:schemeClr val="bg1"/>
                </a:solidFill>
                <a:latin typeface="+mj-lt"/>
              </a:rPr>
              <a:t>We connect Denmark.</a:t>
            </a:r>
          </a:p>
          <a:p>
            <a:pPr algn="r"/>
            <a:r>
              <a:rPr lang="en-GB" sz="1600" i="0" dirty="0">
                <a:solidFill>
                  <a:schemeClr val="bg1"/>
                </a:solidFill>
                <a:latin typeface="+mj-lt"/>
              </a:rPr>
              <a:t>For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1166968491"/>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3831876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450756908"/>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dirty="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dirty="0"/>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dirty="0"/>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dirty="0"/>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accent1"/>
                </a:solidFill>
                <a:latin typeface="+mj-lt"/>
              </a:rPr>
              <a:t>We connect Denmark.</a:t>
            </a:r>
          </a:p>
          <a:p>
            <a:pPr lvl="0"/>
            <a:r>
              <a:rPr lang="en-GB" dirty="0">
                <a:solidFill>
                  <a:schemeClr val="accent1"/>
                </a:solidFill>
                <a:latin typeface="+mj-lt"/>
              </a:rPr>
              <a:t>For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615241297"/>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351924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6946680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1780114440"/>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dirty="0"/>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endParaRPr lang="en-GB" dirty="0"/>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dirty="0"/>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dirty="0">
                <a:solidFill>
                  <a:schemeClr val="bg1"/>
                </a:solidFill>
                <a:latin typeface="+mj-lt"/>
              </a:rPr>
              <a:t>We connect Denmark.</a:t>
            </a:r>
          </a:p>
          <a:p>
            <a:pPr lvl="0"/>
            <a:r>
              <a:rPr lang="en-GB" dirty="0">
                <a:solidFill>
                  <a:schemeClr val="bg1"/>
                </a:solidFill>
                <a:latin typeface="+mj-lt"/>
              </a:rPr>
              <a:t>For everyone.</a:t>
            </a:r>
          </a:p>
        </p:txBody>
      </p:sp>
    </p:spTree>
    <p:extLst>
      <p:ext uri="{BB962C8B-B14F-4D97-AF65-F5344CB8AC3E}">
        <p14:creationId xmlns:p14="http://schemas.microsoft.com/office/powerpoint/2010/main" val="1887706518"/>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3133450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42546509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207697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9075668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629016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0613374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2745334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8112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
        <p:nvSpPr>
          <p:cNvPr id="4" name="Content Placeholder 3">
            <a:extLst>
              <a:ext uri="{FF2B5EF4-FFF2-40B4-BE49-F238E27FC236}">
                <a16:creationId xmlns:a16="http://schemas.microsoft.com/office/drawing/2014/main" id="{8D06A66B-524E-4A89-99A1-632CCCAD07D4}"/>
              </a:ext>
            </a:extLst>
          </p:cNvPr>
          <p:cNvSpPr>
            <a:spLocks noGrp="1"/>
          </p:cNvSpPr>
          <p:nvPr>
            <p:ph sz="quarter" idx="27"/>
          </p:nvPr>
        </p:nvSpPr>
        <p:spPr>
          <a:xfrm>
            <a:off x="4350000" y="1376363"/>
            <a:ext cx="3492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73584266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0541830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9C58E116-1CA2-48D8-BBA9-6A2268F29FBA}"/>
              </a:ext>
            </a:extLst>
          </p:cNvPr>
          <p:cNvSpPr/>
          <p:nvPr userDrawn="1"/>
        </p:nvSpPr>
        <p:spPr>
          <a:xfrm>
            <a:off x="5497830" y="0"/>
            <a:ext cx="669537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10123650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dirty="0"/>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21983175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61B1D526-9715-4C65-83EE-79727CD02D30}"/>
              </a:ext>
            </a:extLst>
          </p:cNvPr>
          <p:cNvSpPr/>
          <p:nvPr userDrawn="1"/>
        </p:nvSpPr>
        <p:spPr>
          <a:xfrm>
            <a:off x="5497830" y="0"/>
            <a:ext cx="669537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096000" y="1376363"/>
            <a:ext cx="5508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19009190"/>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608D48-B16F-4AB0-BBC7-B7131729FF25}"/>
              </a:ext>
            </a:extLst>
          </p:cNvPr>
          <p:cNvGraphicFramePr>
            <a:graphicFrameLocks noChangeAspect="1"/>
          </p:cNvGraphicFramePr>
          <p:nvPr userDrawn="1">
            <p:custDataLst>
              <p:tags r:id="rId1"/>
            </p:custDataLst>
            <p:extLst>
              <p:ext uri="{D42A27DB-BD31-4B8C-83A1-F6EECF244321}">
                <p14:modId xmlns:p14="http://schemas.microsoft.com/office/powerpoint/2010/main" val="2142770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AC608D48-B16F-4AB0-BBC7-B7131729FF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8F1F58-1DD7-43A8-84FF-874E6E02C75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0FE43749-F00D-4AFF-B258-C5DFED1DCD9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extBox 6">
            <a:extLst>
              <a:ext uri="{FF2B5EF4-FFF2-40B4-BE49-F238E27FC236}">
                <a16:creationId xmlns:a16="http://schemas.microsoft.com/office/drawing/2014/main" id="{33A23657-48E1-40A5-BCAB-8221A162821D}"/>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1"/>
                </a:solidFill>
                <a:latin typeface="+mj-lt"/>
              </a:rPr>
              <a:t>We connect Denmark.</a:t>
            </a:r>
          </a:p>
          <a:p>
            <a:pPr algn="r"/>
            <a:r>
              <a:rPr lang="en-GB" sz="2000" i="0">
                <a:solidFill>
                  <a:schemeClr val="accent1"/>
                </a:solidFill>
                <a:latin typeface="+mj-lt"/>
              </a:rPr>
              <a:t>To benefit everyone.</a:t>
            </a:r>
            <a:endParaRPr lang="en-GB" sz="2000" i="0" dirty="0">
              <a:solidFill>
                <a:schemeClr val="accent1"/>
              </a:solidFill>
              <a:latin typeface="+mj-lt"/>
            </a:endParaRPr>
          </a:p>
        </p:txBody>
      </p:sp>
      <p:pic>
        <p:nvPicPr>
          <p:cNvPr id="8" name="Picture 7">
            <a:extLst>
              <a:ext uri="{FF2B5EF4-FFF2-40B4-BE49-F238E27FC236}">
                <a16:creationId xmlns:a16="http://schemas.microsoft.com/office/drawing/2014/main" id="{DFECD3ED-10AC-4BAF-9AC7-403E0FCDB7DA}"/>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
        <p:nvSpPr>
          <p:cNvPr id="11" name="Title 1">
            <a:extLst>
              <a:ext uri="{FF2B5EF4-FFF2-40B4-BE49-F238E27FC236}">
                <a16:creationId xmlns:a16="http://schemas.microsoft.com/office/drawing/2014/main" id="{1A9C9478-E8BB-414F-9145-9F676C6677A4}"/>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accent2"/>
                </a:solidFill>
                <a:latin typeface="+mj-lt"/>
              </a:defRPr>
            </a:lvl1pPr>
          </a:lstStyle>
          <a:p>
            <a:r>
              <a:rPr lang="en-GB" dirty="0"/>
              <a:t>Click to add title</a:t>
            </a:r>
          </a:p>
        </p:txBody>
      </p:sp>
    </p:spTree>
    <p:extLst>
      <p:ext uri="{BB962C8B-B14F-4D97-AF65-F5344CB8AC3E}">
        <p14:creationId xmlns:p14="http://schemas.microsoft.com/office/powerpoint/2010/main" val="2230255335"/>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36385B-2BDD-442E-AA01-FF9D59A82D64}"/>
              </a:ext>
            </a:extLst>
          </p:cNvPr>
          <p:cNvGraphicFramePr>
            <a:graphicFrameLocks noChangeAspect="1"/>
          </p:cNvGraphicFramePr>
          <p:nvPr userDrawn="1">
            <p:custDataLst>
              <p:tags r:id="rId1"/>
            </p:custDataLst>
            <p:extLst>
              <p:ext uri="{D42A27DB-BD31-4B8C-83A1-F6EECF244321}">
                <p14:modId xmlns:p14="http://schemas.microsoft.com/office/powerpoint/2010/main" val="261097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436385B-2BDD-442E-AA01-FF9D59A82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4092230-2910-4676-A305-46FFF508A94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84806ADE-748C-4A1B-A8B2-D1260B5DE5A1}"/>
              </a:ext>
            </a:extLst>
          </p:cNvPr>
          <p:cNvPicPr>
            <a:picLocks noChangeAspect="1"/>
          </p:cNvPicPr>
          <p:nvPr userDrawn="1"/>
        </p:nvPicPr>
        <p:blipFill>
          <a:blip r:embed="rId6"/>
          <a:stretch>
            <a:fillRect/>
          </a:stretch>
        </p:blipFill>
        <p:spPr>
          <a:xfrm>
            <a:off x="5414" y="0"/>
            <a:ext cx="12181172" cy="6858000"/>
          </a:xfrm>
          <a:prstGeom prst="rect">
            <a:avLst/>
          </a:prstGeom>
        </p:spPr>
      </p:pic>
      <p:sp>
        <p:nvSpPr>
          <p:cNvPr id="9" name="Title 1">
            <a:extLst>
              <a:ext uri="{FF2B5EF4-FFF2-40B4-BE49-F238E27FC236}">
                <a16:creationId xmlns:a16="http://schemas.microsoft.com/office/drawing/2014/main" id="{54149983-15FC-4D03-BCCD-72D45EFBA02D}"/>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3" name="Logo">
            <a:extLst>
              <a:ext uri="{FF2B5EF4-FFF2-40B4-BE49-F238E27FC236}">
                <a16:creationId xmlns:a16="http://schemas.microsoft.com/office/drawing/2014/main" id="{C354A476-ACC8-4AD4-8E37-5F1C3F4328C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9649" y="6157750"/>
            <a:ext cx="989149" cy="282278"/>
          </a:xfrm>
          <a:prstGeom prst="rect">
            <a:avLst/>
          </a:prstGeom>
        </p:spPr>
      </p:pic>
    </p:spTree>
    <p:extLst>
      <p:ext uri="{BB962C8B-B14F-4D97-AF65-F5344CB8AC3E}">
        <p14:creationId xmlns:p14="http://schemas.microsoft.com/office/powerpoint/2010/main" val="1709816146"/>
      </p:ext>
    </p:extLst>
  </p:cSld>
  <p:clrMapOvr>
    <a:masterClrMapping/>
  </p:clrMapOvr>
  <p:hf hdr="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5F2DD7-0C86-413F-81A1-4BEBCABD2EEB}"/>
              </a:ext>
            </a:extLst>
          </p:cNvPr>
          <p:cNvGraphicFramePr>
            <a:graphicFrameLocks noChangeAspect="1"/>
          </p:cNvGraphicFramePr>
          <p:nvPr userDrawn="1">
            <p:custDataLst>
              <p:tags r:id="rId1"/>
            </p:custDataLst>
            <p:extLst>
              <p:ext uri="{D42A27DB-BD31-4B8C-83A1-F6EECF244321}">
                <p14:modId xmlns:p14="http://schemas.microsoft.com/office/powerpoint/2010/main" val="318869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25F2DD7-0C86-413F-81A1-4BEBCABD2E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4C0B35-B170-42FB-B205-8C0D336CD04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9600" b="1" i="0" baseline="0" noProof="0" dirty="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56F761B3-3CE4-4214-B383-DECEAF5FB40E}"/>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pic>
        <p:nvPicPr>
          <p:cNvPr id="11" name="Logo">
            <a:extLst>
              <a:ext uri="{FF2B5EF4-FFF2-40B4-BE49-F238E27FC236}">
                <a16:creationId xmlns:a16="http://schemas.microsoft.com/office/drawing/2014/main" id="{8B24D4EB-8E26-4EEA-9613-13518C1C4668}"/>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609649" y="6157889"/>
            <a:ext cx="989149" cy="282000"/>
          </a:xfrm>
          <a:prstGeom prst="rect">
            <a:avLst/>
          </a:prstGeom>
        </p:spPr>
      </p:pic>
      <p:sp>
        <p:nvSpPr>
          <p:cNvPr id="5" name="TextBox 4">
            <a:extLst>
              <a:ext uri="{FF2B5EF4-FFF2-40B4-BE49-F238E27FC236}">
                <a16:creationId xmlns:a16="http://schemas.microsoft.com/office/drawing/2014/main" id="{3C048898-F867-483D-BD12-2C141DB1653E}"/>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a:solidFill>
                  <a:schemeClr val="accent2"/>
                </a:solidFill>
                <a:latin typeface="+mj-lt"/>
              </a:rPr>
              <a:t>We connect Denmark.</a:t>
            </a:r>
          </a:p>
          <a:p>
            <a:pPr algn="r"/>
            <a:r>
              <a:rPr lang="en-GB" sz="2000" i="0">
                <a:solidFill>
                  <a:schemeClr val="accent2"/>
                </a:solidFill>
                <a:latin typeface="+mj-lt"/>
              </a:rPr>
              <a:t>To benefit everyone.</a:t>
            </a:r>
            <a:endParaRPr lang="en-GB" sz="2000" i="0" dirty="0">
              <a:solidFill>
                <a:schemeClr val="accent2"/>
              </a:solidFill>
              <a:latin typeface="+mj-lt"/>
            </a:endParaRPr>
          </a:p>
        </p:txBody>
      </p:sp>
    </p:spTree>
    <p:extLst>
      <p:ext uri="{BB962C8B-B14F-4D97-AF65-F5344CB8AC3E}">
        <p14:creationId xmlns:p14="http://schemas.microsoft.com/office/powerpoint/2010/main" val="30314747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C247942F-93ED-43B0-899C-8B9BB3AA212B}"/>
              </a:ext>
            </a:extLst>
          </p:cNvPr>
          <p:cNvSpPr/>
          <p:nvPr userDrawn="1"/>
        </p:nvSpPr>
        <p:spPr>
          <a:xfrm>
            <a:off x="0" y="9144"/>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latin typeface="+mj-lt"/>
            </a:endParaRPr>
          </a:p>
        </p:txBody>
      </p:sp>
      <p:sp>
        <p:nvSpPr>
          <p:cNvPr id="15" name="Title 1">
            <a:extLst>
              <a:ext uri="{FF2B5EF4-FFF2-40B4-BE49-F238E27FC236}">
                <a16:creationId xmlns:a16="http://schemas.microsoft.com/office/drawing/2014/main" id="{1B208A43-CF51-4489-BB40-B7AD38849770}"/>
              </a:ext>
            </a:extLst>
          </p:cNvPr>
          <p:cNvSpPr>
            <a:spLocks noGrp="1"/>
          </p:cNvSpPr>
          <p:nvPr>
            <p:ph type="ctrTitle" hasCustomPrompt="1"/>
          </p:nvPr>
        </p:nvSpPr>
        <p:spPr>
          <a:xfrm>
            <a:off x="1185648" y="2128965"/>
            <a:ext cx="9820704" cy="2600071"/>
          </a:xfrm>
        </p:spPr>
        <p:txBody>
          <a:bodyPr anchor="ctr" anchorCtr="0"/>
          <a:lstStyle>
            <a:lvl1pPr algn="ctr">
              <a:lnSpc>
                <a:spcPct val="88000"/>
              </a:lnSpc>
              <a:defRPr sz="9600">
                <a:solidFill>
                  <a:schemeClr val="bg1"/>
                </a:solidFill>
                <a:latin typeface="+mj-lt"/>
              </a:defRPr>
            </a:lvl1pPr>
          </a:lstStyle>
          <a:p>
            <a:r>
              <a:rPr lang="en-GB" dirty="0"/>
              <a:t>Click to add title</a:t>
            </a:r>
          </a:p>
        </p:txBody>
      </p:sp>
      <p:sp>
        <p:nvSpPr>
          <p:cNvPr id="6" name="TextBox 5">
            <a:extLst>
              <a:ext uri="{FF2B5EF4-FFF2-40B4-BE49-F238E27FC236}">
                <a16:creationId xmlns:a16="http://schemas.microsoft.com/office/drawing/2014/main" id="{43EDE0EA-BF19-4184-8B4D-85BCBE1777AC}"/>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p>
            <a:pPr algn="r"/>
            <a:r>
              <a:rPr lang="en-GB" sz="2000" i="0" dirty="0">
                <a:solidFill>
                  <a:schemeClr val="bg1"/>
                </a:solidFill>
                <a:latin typeface="+mj-lt"/>
              </a:rPr>
              <a:t>We connect Denmark.</a:t>
            </a:r>
          </a:p>
          <a:p>
            <a:pPr algn="r"/>
            <a:r>
              <a:rPr lang="en-GB" sz="2000" i="0" dirty="0">
                <a:solidFill>
                  <a:schemeClr val="bg1"/>
                </a:solidFill>
                <a:latin typeface="+mj-lt"/>
              </a:rPr>
              <a:t>To benefit everyone.</a:t>
            </a:r>
          </a:p>
        </p:txBody>
      </p:sp>
      <p:pic>
        <p:nvPicPr>
          <p:cNvPr id="7" name="Logo">
            <a:extLst>
              <a:ext uri="{FF2B5EF4-FFF2-40B4-BE49-F238E27FC236}">
                <a16:creationId xmlns:a16="http://schemas.microsoft.com/office/drawing/2014/main" id="{F9C90E73-9BF0-4E08-A990-071B7EA47EC3}"/>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Tree>
    <p:extLst>
      <p:ext uri="{BB962C8B-B14F-4D97-AF65-F5344CB8AC3E}">
        <p14:creationId xmlns:p14="http://schemas.microsoft.com/office/powerpoint/2010/main" val="645804004"/>
      </p:ext>
    </p:extLst>
  </p:cSld>
  <p:clrMapOvr>
    <a:masterClrMapping/>
  </p:clrMapOvr>
  <p:hf hdr="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30200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07941"/>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21352126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wo Content C">
    <p:spTree>
      <p:nvGrpSpPr>
        <p:cNvPr id="1" name=""/>
        <p:cNvGrpSpPr/>
        <p:nvPr/>
      </p:nvGrpSpPr>
      <p:grpSpPr>
        <a:xfrm>
          <a:off x="0" y="0"/>
          <a:ext cx="0" cy="0"/>
          <a:chOff x="0" y="0"/>
          <a:chExt cx="0" cy="0"/>
        </a:xfrm>
      </p:grpSpPr>
      <p:pic>
        <p:nvPicPr>
          <p:cNvPr id="5" name="Billede 4" descr="Et billede, der indeholder udendørs, strand, felt, mand&#10;&#10;Automatisk genereret beskrivelse">
            <a:extLst>
              <a:ext uri="{FF2B5EF4-FFF2-40B4-BE49-F238E27FC236}">
                <a16:creationId xmlns:a16="http://schemas.microsoft.com/office/drawing/2014/main" id="{5B0117A3-0626-2D43-9A00-0A71BD7CF64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8282" r="8362" b="16644"/>
          <a:stretch/>
        </p:blipFill>
        <p:spPr>
          <a:xfrm>
            <a:off x="0" y="0"/>
            <a:ext cx="6677576" cy="6858000"/>
          </a:xfrm>
          <a:prstGeom prst="rect">
            <a:avLst/>
          </a:prstGeom>
        </p:spPr>
      </p:pic>
      <p:graphicFrame>
        <p:nvGraphicFramePr>
          <p:cNvPr id="4" name="Objekt 3" hidden="1">
            <a:extLst>
              <a:ext uri="{FF2B5EF4-FFF2-40B4-BE49-F238E27FC236}">
                <a16:creationId xmlns:a16="http://schemas.microsoft.com/office/drawing/2014/main" id="{CEDB0737-A31E-4D9A-AACB-46AA4C81D3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0" progId="TCLayout.ActiveDocument.1">
                  <p:embed/>
                </p:oleObj>
              </mc:Choice>
              <mc:Fallback>
                <p:oleObj name="think-cell Slide" r:id="rId5" imgW="421" imgH="420" progId="TCLayout.ActiveDocument.1">
                  <p:embed/>
                  <p:pic>
                    <p:nvPicPr>
                      <p:cNvPr id="4" name="Objekt 3" hidden="1">
                        <a:extLst>
                          <a:ext uri="{FF2B5EF4-FFF2-40B4-BE49-F238E27FC236}">
                            <a16:creationId xmlns:a16="http://schemas.microsoft.com/office/drawing/2014/main" id="{CEDB0737-A31E-4D9A-AACB-46AA4C81D3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F8205348-CF07-4DF1-B5E1-BA961AAC415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da-DK" sz="2500" b="1" i="0" baseline="0" noProof="0" err="1">
              <a:latin typeface="TDC NET" panose="00000500000000000000" pitchFamily="2" charset="0"/>
              <a:ea typeface="+mj-ea"/>
              <a:cs typeface="+mj-cs"/>
              <a:sym typeface="TDC NET" panose="00000500000000000000" pitchFamily="2" charset="0"/>
            </a:endParaRPr>
          </a:p>
        </p:txBody>
      </p:sp>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4320000" cy="638636"/>
          </a:xfrm>
        </p:spPr>
        <p:txBody>
          <a:bodyPr>
            <a:spAutoFit/>
          </a:bodyPr>
          <a:lstStyle>
            <a:lvl1pPr>
              <a:defRPr>
                <a:latin typeface="+mj-lt"/>
              </a:defRPr>
            </a:lvl1pPr>
          </a:lstStyle>
          <a:p>
            <a:r>
              <a:rPr lang="da-DK"/>
              <a:t>Klik for at redigere titeltypografien i masteren</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3276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pic>
        <p:nvPicPr>
          <p:cNvPr id="11" name="Logo">
            <a:extLst>
              <a:ext uri="{FF2B5EF4-FFF2-40B4-BE49-F238E27FC236}">
                <a16:creationId xmlns:a16="http://schemas.microsoft.com/office/drawing/2014/main" id="{A2EC3281-5937-7846-BBB7-D194965E8D8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10" name="Content Placeholder 2">
            <a:extLst>
              <a:ext uri="{FF2B5EF4-FFF2-40B4-BE49-F238E27FC236}">
                <a16:creationId xmlns:a16="http://schemas.microsoft.com/office/drawing/2014/main" id="{3062EEB9-DA01-4B99-9774-25C8926F6F8F}"/>
              </a:ext>
            </a:extLst>
          </p:cNvPr>
          <p:cNvSpPr>
            <a:spLocks noGrp="1"/>
          </p:cNvSpPr>
          <p:nvPr>
            <p:ph idx="28"/>
          </p:nvPr>
        </p:nvSpPr>
        <p:spPr>
          <a:xfrm>
            <a:off x="588000" y="1376363"/>
            <a:ext cx="43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Tree>
    <p:extLst>
      <p:ext uri="{BB962C8B-B14F-4D97-AF65-F5344CB8AC3E}">
        <p14:creationId xmlns:p14="http://schemas.microsoft.com/office/powerpoint/2010/main" val="297603913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extLst>
              <p:ext uri="{D42A27DB-BD31-4B8C-83A1-F6EECF244321}">
                <p14:modId xmlns:p14="http://schemas.microsoft.com/office/powerpoint/2010/main" val="1136558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196184C-066E-4F98-A782-4F8EE81C4B45}"/>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6000"/>
              </a:lnSpc>
              <a:spcBef>
                <a:spcPct val="0"/>
              </a:spcBef>
              <a:spcAft>
                <a:spcPct val="0"/>
              </a:spcAft>
            </a:pPr>
            <a:endParaRPr lang="en-US" sz="2700" b="0" i="0" baseline="0" dirty="0" err="1">
              <a:solidFill>
                <a:schemeClr val="bg1"/>
              </a:solidFill>
              <a:latin typeface="TDC" panose="020B0503060202020204" pitchFamily="34" charset="0"/>
              <a:ea typeface="+mj-ea"/>
              <a:cs typeface="+mj-cs"/>
              <a:sym typeface="TDC" panose="020B0503060202020204" pitchFamily="34" charset="0"/>
            </a:endParaRPr>
          </a:p>
        </p:txBody>
      </p:sp>
      <p:sp>
        <p:nvSpPr>
          <p:cNvPr id="2" name="2. Slide Title"/>
          <p:cNvSpPr>
            <a:spLocks noGrp="1"/>
          </p:cNvSpPr>
          <p:nvPr>
            <p:ph type="title"/>
          </p:nvPr>
        </p:nvSpPr>
        <p:spPr bwMode="auto">
          <a:xfrm>
            <a:off x="576000" y="415189"/>
            <a:ext cx="11082600" cy="398892"/>
          </a:xfrm>
        </p:spPr>
        <p:txBody>
          <a:bodyPr/>
          <a:lstStyle/>
          <a:p>
            <a:r>
              <a:rPr lang="en-US"/>
              <a:t>Click to edit Master title style</a:t>
            </a:r>
            <a:endParaRPr lang="en-US"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
        <p:nvSpPr>
          <p:cNvPr id="6" name="Text Placeholder 5">
            <a:extLst>
              <a:ext uri="{FF2B5EF4-FFF2-40B4-BE49-F238E27FC236}">
                <a16:creationId xmlns:a16="http://schemas.microsoft.com/office/drawing/2014/main" id="{EAAA3309-243F-44E4-A456-52CD25ABF6B0}"/>
              </a:ext>
            </a:extLst>
          </p:cNvPr>
          <p:cNvSpPr>
            <a:spLocks noGrp="1"/>
          </p:cNvSpPr>
          <p:nvPr>
            <p:ph type="body" sz="quarter" idx="10"/>
          </p:nvPr>
        </p:nvSpPr>
        <p:spPr>
          <a:xfrm>
            <a:off x="576263" y="1112838"/>
            <a:ext cx="5519737" cy="1579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9" name="Text Placeholder 8">
            <a:extLst>
              <a:ext uri="{FF2B5EF4-FFF2-40B4-BE49-F238E27FC236}">
                <a16:creationId xmlns:a16="http://schemas.microsoft.com/office/drawing/2014/main" id="{A7D1A824-694D-4EF3-AC3C-573AA8179913}"/>
              </a:ext>
            </a:extLst>
          </p:cNvPr>
          <p:cNvSpPr>
            <a:spLocks noGrp="1"/>
          </p:cNvSpPr>
          <p:nvPr>
            <p:ph type="body" sz="quarter" idx="11" hasCustomPrompt="1"/>
          </p:nvPr>
        </p:nvSpPr>
        <p:spPr>
          <a:xfrm>
            <a:off x="571500" y="6334125"/>
            <a:ext cx="7339013" cy="115416"/>
          </a:xfrm>
        </p:spPr>
        <p:txBody>
          <a:bodyPr/>
          <a:lstStyle>
            <a:lvl1pPr marL="182880" indent="-182880">
              <a:buClr>
                <a:schemeClr val="accent6"/>
              </a:buClr>
              <a:buFont typeface="+mj-lt"/>
              <a:buAutoNum type="arabicParenR"/>
              <a:defRPr sz="750">
                <a:solidFill>
                  <a:schemeClr val="accent6"/>
                </a:solidFill>
              </a:defRPr>
            </a:lvl1pPr>
            <a:lvl2pPr>
              <a:defRPr sz="800"/>
            </a:lvl2pPr>
            <a:lvl3pPr>
              <a:defRPr sz="800"/>
            </a:lvl3pPr>
            <a:lvl4pPr>
              <a:defRPr sz="800"/>
            </a:lvl4pPr>
            <a:lvl5pPr>
              <a:defRPr sz="800"/>
            </a:lvl5pPr>
          </a:lstStyle>
          <a:p>
            <a:pPr lvl="0"/>
            <a:r>
              <a:rPr lang="en-US" dirty="0"/>
              <a:t>References / footnotes</a:t>
            </a:r>
          </a:p>
        </p:txBody>
      </p:sp>
      <p:sp>
        <p:nvSpPr>
          <p:cNvPr id="33" name="Text Placeholder 32">
            <a:extLst>
              <a:ext uri="{FF2B5EF4-FFF2-40B4-BE49-F238E27FC236}">
                <a16:creationId xmlns:a16="http://schemas.microsoft.com/office/drawing/2014/main" id="{F31F656F-1BAD-4977-81F5-9B00062123BE}"/>
              </a:ext>
            </a:extLst>
          </p:cNvPr>
          <p:cNvSpPr>
            <a:spLocks noGrp="1"/>
          </p:cNvSpPr>
          <p:nvPr>
            <p:ph type="body" sz="quarter" idx="12" hasCustomPrompt="1"/>
          </p:nvPr>
        </p:nvSpPr>
        <p:spPr>
          <a:xfrm>
            <a:off x="576263" y="130403"/>
            <a:ext cx="1846262" cy="143918"/>
          </a:xfrm>
        </p:spPr>
        <p:txBody>
          <a:bodyPr/>
          <a:lstStyle>
            <a:lvl1pPr>
              <a:defRPr sz="800">
                <a:solidFill>
                  <a:schemeClr val="accent6"/>
                </a:solidFill>
              </a:defRPr>
            </a:lvl1pPr>
          </a:lstStyle>
          <a:p>
            <a:pPr lvl="0"/>
            <a:r>
              <a:rPr lang="da-DK" dirty="0"/>
              <a:t>TITLE THEME</a:t>
            </a:r>
          </a:p>
          <a:p>
            <a:pPr lvl="0"/>
            <a:endParaRPr lang="da-DK" dirty="0"/>
          </a:p>
        </p:txBody>
      </p:sp>
    </p:spTree>
    <p:extLst>
      <p:ext uri="{BB962C8B-B14F-4D97-AF65-F5344CB8AC3E}">
        <p14:creationId xmlns:p14="http://schemas.microsoft.com/office/powerpoint/2010/main" val="1449858349"/>
      </p:ext>
    </p:extLst>
  </p:cSld>
  <p:clrMapOvr>
    <a:masterClrMapping/>
  </p:clrMapOvr>
  <p:extLst>
    <p:ext uri="{DCECCB84-F9BA-43D5-87BE-67443E8EF086}">
      <p15:sldGuideLst xmlns:p15="http://schemas.microsoft.com/office/powerpoint/2012/main">
        <p15:guide id="3" orient="horz" pos="583">
          <p15:clr>
            <a:srgbClr val="F26B43"/>
          </p15:clr>
        </p15:guide>
        <p15:guide id="4" orient="horz" pos="3990">
          <p15:clr>
            <a:srgbClr val="F26B43"/>
          </p15:clr>
        </p15:guide>
        <p15:guide id="5" pos="36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A7553-1D50-4968-9FDD-6E190024E4D6}"/>
              </a:ext>
            </a:extLst>
          </p:cNvPr>
          <p:cNvGraphicFramePr>
            <a:graphicFrameLocks noChangeAspect="1"/>
          </p:cNvGraphicFramePr>
          <p:nvPr userDrawn="1">
            <p:custDataLst>
              <p:tags r:id="rId1"/>
            </p:custDataLst>
            <p:extLst>
              <p:ext uri="{D42A27DB-BD31-4B8C-83A1-F6EECF244321}">
                <p14:modId xmlns:p14="http://schemas.microsoft.com/office/powerpoint/2010/main" val="2924452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AC9A7553-1D50-4968-9FDD-6E190024E4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65456706-CDB5-4764-9159-1E19CD9FE65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a:latin typeface="TDC NET" panose="020B0604020202020204" charset="0"/>
              <a:ea typeface="+mj-ea"/>
              <a:cs typeface="+mj-cs"/>
              <a:sym typeface="TDC NET" panose="020B0604020202020204" charset="0"/>
            </a:endParaRPr>
          </a:p>
        </p:txBody>
      </p:sp>
      <p:sp>
        <p:nvSpPr>
          <p:cNvPr id="2" name="2. Slide Title"/>
          <p:cNvSpPr>
            <a:spLocks noGrp="1"/>
          </p:cNvSpPr>
          <p:nvPr>
            <p:ph type="title" hasCustomPrompt="1"/>
          </p:nvPr>
        </p:nvSpPr>
        <p:spPr bwMode="auto"/>
        <p:txBody>
          <a:bodyPr/>
          <a:lstStyle/>
          <a:p>
            <a:r>
              <a:rPr lang="en-US" dirty="0"/>
              <a:t>Click to edit Master title style</a:t>
            </a:r>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417190880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834A3F-BDAE-4DF9-AC75-C0892EB37CF9}"/>
              </a:ext>
            </a:extLst>
          </p:cNvPr>
          <p:cNvGraphicFramePr>
            <a:graphicFrameLocks noChangeAspect="1"/>
          </p:cNvGraphicFramePr>
          <p:nvPr userDrawn="1">
            <p:custDataLst>
              <p:tags r:id="rId1"/>
            </p:custDataLst>
            <p:extLst>
              <p:ext uri="{D42A27DB-BD31-4B8C-83A1-F6EECF244321}">
                <p14:modId xmlns:p14="http://schemas.microsoft.com/office/powerpoint/2010/main" val="337654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8E834A3F-BDAE-4DF9-AC75-C0892EB37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4829302-9074-4400-BC66-3933EA9A1E9F}"/>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4" name="Picture 3">
            <a:extLst>
              <a:ext uri="{FF2B5EF4-FFF2-40B4-BE49-F238E27FC236}">
                <a16:creationId xmlns:a16="http://schemas.microsoft.com/office/drawing/2014/main" id="{5E6ECB05-D1C2-4AAC-BA6C-A5102B9490B0}"/>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8280000" cy="812530"/>
          </a:xfrm>
        </p:spPr>
        <p:txBody>
          <a:bodyPr anchor="b" anchorCtr="0"/>
          <a:lstStyle>
            <a:lvl1pPr algn="l">
              <a:lnSpc>
                <a:spcPct val="88000"/>
              </a:lnSpc>
              <a:defRPr sz="6000">
                <a:solidFill>
                  <a:schemeClr val="accent2"/>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8280000" cy="387798"/>
          </a:xfrm>
        </p:spPr>
        <p:txBody>
          <a:bodyPr>
            <a:spAutoFit/>
          </a:bodyPr>
          <a:lstStyle>
            <a:lvl1pPr marL="0" indent="0" algn="l">
              <a:spcBef>
                <a:spcPts val="0"/>
              </a:spcBef>
              <a:buFont typeface="Arial" panose="020B0604020202020204" pitchFamily="34" charset="0"/>
              <a:buChar char="​"/>
              <a:defRPr sz="2800">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8280000"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a:t>Document type | Date</a:t>
            </a:r>
          </a:p>
        </p:txBody>
      </p:sp>
      <p:sp>
        <p:nvSpPr>
          <p:cNvPr id="24" name="TextBox 23">
            <a:extLst>
              <a:ext uri="{FF2B5EF4-FFF2-40B4-BE49-F238E27FC236}">
                <a16:creationId xmlns:a16="http://schemas.microsoft.com/office/drawing/2014/main" id="{BA6DA226-23A2-452C-ABE2-1A4604FC1D03}"/>
              </a:ext>
            </a:extLst>
          </p:cNvPr>
          <p:cNvSpPr txBox="1"/>
          <p:nvPr userDrawn="1"/>
        </p:nvSpPr>
        <p:spPr>
          <a:xfrm>
            <a:off x="8715334" y="5927981"/>
            <a:ext cx="2981884" cy="492443"/>
          </a:xfrm>
          <a:prstGeom prst="rect">
            <a:avLst/>
          </a:prstGeom>
          <a:noFill/>
        </p:spPr>
        <p:txBody>
          <a:bodyPr vert="horz" wrap="square" lIns="0" tIns="0" rIns="0" bIns="0" rtlCol="0" anchor="ctr">
            <a:spAutoFit/>
          </a:bodyPr>
          <a:lstStyle/>
          <a:p>
            <a:pPr algn="r"/>
            <a:r>
              <a:rPr lang="en-GB" sz="1600" i="0">
                <a:solidFill>
                  <a:schemeClr val="bg1"/>
                </a:solidFill>
                <a:latin typeface="+mj-lt"/>
              </a:rPr>
              <a:t>We connect Denmark.</a:t>
            </a:r>
          </a:p>
          <a:p>
            <a:pPr algn="r"/>
            <a:r>
              <a:rPr lang="en-GB" sz="1600" i="0">
                <a:solidFill>
                  <a:schemeClr val="bg1"/>
                </a:solidFill>
                <a:latin typeface="+mj-lt"/>
              </a:rPr>
              <a:t>To benefit everyone.</a:t>
            </a:r>
          </a:p>
        </p:txBody>
      </p:sp>
      <p:pic>
        <p:nvPicPr>
          <p:cNvPr id="25" name="Picture 24">
            <a:extLst>
              <a:ext uri="{FF2B5EF4-FFF2-40B4-BE49-F238E27FC236}">
                <a16:creationId xmlns:a16="http://schemas.microsoft.com/office/drawing/2014/main" id="{3E8047B5-2E6E-4A39-9221-2A935372EC61}"/>
              </a:ext>
            </a:extLst>
          </p:cNvPr>
          <p:cNvPicPr>
            <a:picLocks/>
          </p:cNvPicPr>
          <p:nvPr userDrawn="1"/>
        </p:nvPicPr>
        <p:blipFill>
          <a:blip r:embed="rId7" cstate="screen">
            <a:extLst>
              <a:ext uri="{28A0092B-C50C-407E-A947-70E740481C1C}">
                <a14:useLocalDpi xmlns:a14="http://schemas.microsoft.com/office/drawing/2010/main"/>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3306645982"/>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dirty="0"/>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28958593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extLst>
              <p:ext uri="{D42A27DB-BD31-4B8C-83A1-F6EECF244321}">
                <p14:modId xmlns:p14="http://schemas.microsoft.com/office/powerpoint/2010/main" val="3922803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pic>
        <p:nvPicPr>
          <p:cNvPr id="4" name="Picture 3">
            <a:extLst>
              <a:ext uri="{FF2B5EF4-FFF2-40B4-BE49-F238E27FC236}">
                <a16:creationId xmlns:a16="http://schemas.microsoft.com/office/drawing/2014/main" id="{CD7D00CA-4E1A-45A8-98E0-D9DD70F14A06}"/>
              </a:ext>
            </a:extLst>
          </p:cNvPr>
          <p:cNvPicPr>
            <a:picLocks noChangeAspect="1"/>
          </p:cNvPicPr>
          <p:nvPr userDrawn="1"/>
        </p:nvPicPr>
        <p:blipFill>
          <a:blip r:embed="rId7"/>
          <a:stretch>
            <a:fillRect/>
          </a:stretch>
        </p:blipFill>
        <p:spPr>
          <a:xfrm>
            <a:off x="0" y="0"/>
            <a:ext cx="10632346" cy="5797798"/>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bg1"/>
                </a:solidFill>
                <a:latin typeface="+mj-lt"/>
                <a:ea typeface="+mn-ea"/>
                <a:cs typeface="+mn-cs"/>
              </a:defRPr>
            </a:lvl1pPr>
            <a:lvl2pPr marL="216000" indent="0">
              <a:buNone/>
              <a:defRPr/>
            </a:lvl2pPr>
          </a:lstStyle>
          <a:p>
            <a:pPr lvl="0"/>
            <a:r>
              <a:rPr lang="en-GB"/>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accent1"/>
                </a:solidFill>
                <a:latin typeface="+mj-lt"/>
              </a:rPr>
              <a:t>We connect Denmark.</a:t>
            </a:r>
          </a:p>
          <a:p>
            <a:pPr lvl="0"/>
            <a:r>
              <a:rPr lang="en-GB">
                <a:solidFill>
                  <a:schemeClr val="accent1"/>
                </a:solidFill>
                <a:latin typeface="+mj-lt"/>
              </a:rPr>
              <a:t>To benefit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2312192978"/>
      </p:ext>
    </p:extLst>
  </p:cSld>
  <p:clrMapOvr>
    <a:masterClrMapping/>
  </p:clrMapOvr>
  <p:hf hdr="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556AC7-B82E-4849-8D4E-A3E96A3E5F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0556AC7-B82E-4849-8D4E-A3E96A3E5F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3A33C-EA07-4973-91D9-D49D211FD128}"/>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GB" sz="6000" b="1" i="0" baseline="0" noProof="0" err="1">
              <a:latin typeface="TDC NET" panose="020B0604020202020204" charset="0"/>
              <a:ea typeface="+mj-ea"/>
              <a:cs typeface="+mj-cs"/>
              <a:sym typeface="TDC NET" panose="020B0604020202020204" charset="0"/>
            </a:endParaRPr>
          </a:p>
        </p:txBody>
      </p:sp>
      <p:pic>
        <p:nvPicPr>
          <p:cNvPr id="14" name="Picture 13">
            <a:extLst>
              <a:ext uri="{FF2B5EF4-FFF2-40B4-BE49-F238E27FC236}">
                <a16:creationId xmlns:a16="http://schemas.microsoft.com/office/drawing/2014/main" id="{820CAC06-CB9B-4249-B35D-A2F1DBDECE4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64096"/>
          </a:xfrm>
          <a:prstGeom prst="rect">
            <a:avLst/>
          </a:prstGeom>
        </p:spPr>
      </p:pic>
      <p:sp>
        <p:nvSpPr>
          <p:cNvPr id="10" name="Title 1">
            <a:extLst>
              <a:ext uri="{FF2B5EF4-FFF2-40B4-BE49-F238E27FC236}">
                <a16:creationId xmlns:a16="http://schemas.microsoft.com/office/drawing/2014/main" id="{5599B25A-2651-4133-A044-8FFFF7EFF07A}"/>
              </a:ext>
            </a:extLst>
          </p:cNvPr>
          <p:cNvSpPr>
            <a:spLocks noGrp="1"/>
          </p:cNvSpPr>
          <p:nvPr>
            <p:ph type="ctrTitle" hasCustomPrompt="1"/>
          </p:nvPr>
        </p:nvSpPr>
        <p:spPr>
          <a:xfrm>
            <a:off x="1185543" y="3418892"/>
            <a:ext cx="6210937" cy="812530"/>
          </a:xfrm>
        </p:spPr>
        <p:txBody>
          <a:bodyPr anchor="b" anchorCtr="0"/>
          <a:lstStyle>
            <a:lvl1pPr algn="l">
              <a:lnSpc>
                <a:spcPct val="88000"/>
              </a:lnSpc>
              <a:defRPr sz="6000">
                <a:solidFill>
                  <a:schemeClr val="accent2"/>
                </a:solidFill>
                <a:latin typeface="+mj-lt"/>
              </a:defRPr>
            </a:lvl1pPr>
          </a:lstStyle>
          <a:p>
            <a:r>
              <a:rPr lang="en-GB"/>
              <a:t>Document title</a:t>
            </a:r>
          </a:p>
        </p:txBody>
      </p:sp>
      <p:sp>
        <p:nvSpPr>
          <p:cNvPr id="12" name="Subtitle 2">
            <a:extLst>
              <a:ext uri="{FF2B5EF4-FFF2-40B4-BE49-F238E27FC236}">
                <a16:creationId xmlns:a16="http://schemas.microsoft.com/office/drawing/2014/main" id="{A9FFA7FC-9718-4CF1-9455-830A00837EF6}"/>
              </a:ext>
            </a:extLst>
          </p:cNvPr>
          <p:cNvSpPr>
            <a:spLocks noGrp="1"/>
          </p:cNvSpPr>
          <p:nvPr>
            <p:ph type="subTitle" idx="1" hasCustomPrompt="1"/>
          </p:nvPr>
        </p:nvSpPr>
        <p:spPr>
          <a:xfrm>
            <a:off x="1185543" y="4341878"/>
            <a:ext cx="6210937" cy="387798"/>
          </a:xfrm>
        </p:spPr>
        <p:txBody>
          <a:bodyPr wrap="square">
            <a:spAutoFit/>
          </a:bodyPr>
          <a:lstStyle>
            <a:lvl1pPr marL="0" indent="0" algn="l">
              <a:spcBef>
                <a:spcPts val="0"/>
              </a:spcBef>
              <a:buFont typeface="Arial" panose="020B0604020202020204" pitchFamily="34" charset="0"/>
              <a:buChar char="​"/>
              <a:defRPr sz="2800">
                <a:solidFill>
                  <a:schemeClr val="accent2"/>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8" name="Text Placeholder date">
            <a:extLst>
              <a:ext uri="{FF2B5EF4-FFF2-40B4-BE49-F238E27FC236}">
                <a16:creationId xmlns:a16="http://schemas.microsoft.com/office/drawing/2014/main" id="{AC3B71B8-BA2C-4F68-A957-11EFE91AF75D}"/>
              </a:ext>
            </a:extLst>
          </p:cNvPr>
          <p:cNvSpPr>
            <a:spLocks noGrp="1"/>
          </p:cNvSpPr>
          <p:nvPr>
            <p:ph type="body" sz="quarter" idx="11" hasCustomPrompt="1"/>
          </p:nvPr>
        </p:nvSpPr>
        <p:spPr>
          <a:xfrm>
            <a:off x="1185544" y="5195283"/>
            <a:ext cx="6210937" cy="180000"/>
          </a:xfrm>
        </p:spPr>
        <p:txBody>
          <a:bodyPr anchor="b" anchorCtr="0"/>
          <a:lstStyle>
            <a:lvl1pPr marL="0" indent="0" algn="l">
              <a:buNone/>
              <a:defRPr lang="en-US" sz="1400" kern="1200" dirty="0" smtClean="0">
                <a:solidFill>
                  <a:schemeClr val="accent2"/>
                </a:solidFill>
                <a:latin typeface="+mj-lt"/>
                <a:ea typeface="+mn-ea"/>
                <a:cs typeface="+mn-cs"/>
              </a:defRPr>
            </a:lvl1pPr>
            <a:lvl2pPr marL="216000" indent="0">
              <a:buNone/>
              <a:defRPr/>
            </a:lvl2pPr>
          </a:lstStyle>
          <a:p>
            <a:pPr lvl="0"/>
            <a:r>
              <a:rPr lang="en-GB"/>
              <a:t>Document type | Date</a:t>
            </a:r>
          </a:p>
        </p:txBody>
      </p:sp>
      <p:sp>
        <p:nvSpPr>
          <p:cNvPr id="11" name="TextBox 10">
            <a:extLst>
              <a:ext uri="{FF2B5EF4-FFF2-40B4-BE49-F238E27FC236}">
                <a16:creationId xmlns:a16="http://schemas.microsoft.com/office/drawing/2014/main" id="{AAD41EE4-207D-43BF-A808-8BE47D371102}"/>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accent1"/>
                </a:solidFill>
                <a:latin typeface="+mj-lt"/>
              </a:rPr>
              <a:t>We connect Denmark.</a:t>
            </a:r>
          </a:p>
          <a:p>
            <a:pPr lvl="0"/>
            <a:r>
              <a:rPr lang="en-GB">
                <a:solidFill>
                  <a:schemeClr val="accent1"/>
                </a:solidFill>
                <a:latin typeface="+mj-lt"/>
              </a:rPr>
              <a:t>To benefit everyone.</a:t>
            </a:r>
          </a:p>
        </p:txBody>
      </p:sp>
      <p:pic>
        <p:nvPicPr>
          <p:cNvPr id="13" name="Grafik 15">
            <a:extLst>
              <a:ext uri="{FF2B5EF4-FFF2-40B4-BE49-F238E27FC236}">
                <a16:creationId xmlns:a16="http://schemas.microsoft.com/office/drawing/2014/main" id="{BC5C6381-5C57-47A4-905D-45E432E4712D}"/>
              </a:ext>
            </a:extLst>
          </p:cNvPr>
          <p:cNvPicPr>
            <a:picLocks/>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8142" y="5946270"/>
            <a:ext cx="1566393" cy="455865"/>
          </a:xfrm>
          <a:prstGeom prst="rect">
            <a:avLst/>
          </a:prstGeom>
        </p:spPr>
      </p:pic>
    </p:spTree>
    <p:extLst>
      <p:ext uri="{BB962C8B-B14F-4D97-AF65-F5344CB8AC3E}">
        <p14:creationId xmlns:p14="http://schemas.microsoft.com/office/powerpoint/2010/main" val="4073683129"/>
      </p:ext>
    </p:extLst>
  </p:cSld>
  <p:clrMapOvr>
    <a:masterClrMapping/>
  </p:clrMapOvr>
  <p:hf hdr="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lai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74A9D2CB-A059-4DCB-9277-2A3277B39392}"/>
              </a:ext>
            </a:extLst>
          </p:cNvPr>
          <p:cNvSpPr/>
          <p:nvPr userDrawn="1"/>
        </p:nvSpPr>
        <p:spPr>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To benefit everyone.</a:t>
            </a:r>
          </a:p>
        </p:txBody>
      </p:sp>
    </p:spTree>
    <p:extLst>
      <p:ext uri="{BB962C8B-B14F-4D97-AF65-F5344CB8AC3E}">
        <p14:creationId xmlns:p14="http://schemas.microsoft.com/office/powerpoint/2010/main" val="3119640725"/>
      </p:ext>
    </p:extLst>
  </p:cSld>
  <p:clrMapOvr>
    <a:masterClrMapping/>
  </p:clrMapOvr>
  <p:hf hdr="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lain A">
    <p:spTree>
      <p:nvGrpSpPr>
        <p:cNvPr id="1" name=""/>
        <p:cNvGrpSpPr/>
        <p:nvPr/>
      </p:nvGrpSpPr>
      <p:grpSpPr>
        <a:xfrm>
          <a:off x="0" y="0"/>
          <a:ext cx="0" cy="0"/>
          <a:chOff x="0" y="0"/>
          <a:chExt cx="0" cy="0"/>
        </a:xfrm>
      </p:grpSpPr>
      <p:pic>
        <p:nvPicPr>
          <p:cNvPr id="3" name="Billede 2" descr="Et billede, der indeholder udendørs, person, stående, går&#10;&#10;Automatisk genereret beskrivelse">
            <a:extLst>
              <a:ext uri="{FF2B5EF4-FFF2-40B4-BE49-F238E27FC236}">
                <a16:creationId xmlns:a16="http://schemas.microsoft.com/office/drawing/2014/main" id="{429CE819-1A73-E944-B695-ADDE1D85D5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8000"/>
          </a:xfrm>
          <a:prstGeom prst="rect">
            <a:avLst/>
          </a:prstGeom>
        </p:spPr>
      </p:pic>
      <p:pic>
        <p:nvPicPr>
          <p:cNvPr id="9" name="Logo">
            <a:extLst>
              <a:ext uri="{FF2B5EF4-FFF2-40B4-BE49-F238E27FC236}">
                <a16:creationId xmlns:a16="http://schemas.microsoft.com/office/drawing/2014/main" id="{73A12AF4-783C-45F0-8FA4-22E364C5172E}"/>
              </a:ext>
            </a:extLst>
          </p:cNvPr>
          <p:cNvPicPr>
            <a:picLocks/>
          </p:cNvPicPr>
          <p:nvPr userDrawn="1"/>
        </p:nvPicPr>
        <p:blipFill>
          <a:blip r:embed="rId3"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8" name="Title 1">
            <a:extLst>
              <a:ext uri="{FF2B5EF4-FFF2-40B4-BE49-F238E27FC236}">
                <a16:creationId xmlns:a16="http://schemas.microsoft.com/office/drawing/2014/main" id="{42BA5618-B0EC-4A61-9523-A8703F2EF1DA}"/>
              </a:ext>
            </a:extLst>
          </p:cNvPr>
          <p:cNvSpPr>
            <a:spLocks noGrp="1"/>
          </p:cNvSpPr>
          <p:nvPr>
            <p:ph type="ctrTitle" hasCustomPrompt="1"/>
          </p:nvPr>
        </p:nvSpPr>
        <p:spPr>
          <a:xfrm>
            <a:off x="1185544" y="3418892"/>
            <a:ext cx="9820704"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54D0BD6F-6D98-4A85-993D-D0868F552C24}"/>
              </a:ext>
            </a:extLst>
          </p:cNvPr>
          <p:cNvSpPr>
            <a:spLocks noGrp="1"/>
          </p:cNvSpPr>
          <p:nvPr>
            <p:ph type="subTitle" idx="1" hasCustomPrompt="1"/>
          </p:nvPr>
        </p:nvSpPr>
        <p:spPr>
          <a:xfrm>
            <a:off x="1185544" y="4341878"/>
            <a:ext cx="9820704"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D6854894-B7B6-40EB-81C3-D5F704B17362}"/>
              </a:ext>
            </a:extLst>
          </p:cNvPr>
          <p:cNvSpPr>
            <a:spLocks noGrp="1"/>
          </p:cNvSpPr>
          <p:nvPr>
            <p:ph type="body" sz="quarter" idx="11" hasCustomPrompt="1"/>
          </p:nvPr>
        </p:nvSpPr>
        <p:spPr>
          <a:xfrm>
            <a:off x="1185544" y="5195283"/>
            <a:ext cx="9820704"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sp>
        <p:nvSpPr>
          <p:cNvPr id="11" name="TextBox 10">
            <a:extLst>
              <a:ext uri="{FF2B5EF4-FFF2-40B4-BE49-F238E27FC236}">
                <a16:creationId xmlns:a16="http://schemas.microsoft.com/office/drawing/2014/main" id="{2A4D6AA5-5728-4420-BB60-2A2C16BD0366}"/>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For everyone.</a:t>
            </a:r>
          </a:p>
        </p:txBody>
      </p:sp>
    </p:spTree>
    <p:extLst>
      <p:ext uri="{BB962C8B-B14F-4D97-AF65-F5344CB8AC3E}">
        <p14:creationId xmlns:p14="http://schemas.microsoft.com/office/powerpoint/2010/main" val="2854370878"/>
      </p:ext>
    </p:extLst>
  </p:cSld>
  <p:clrMapOvr>
    <a:masterClrMapping/>
  </p:clrMapOvr>
  <p:hf hdr="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lain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ED138276-676A-4B68-BF22-87AFFFB3B39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2" name="Title 1"/>
          <p:cNvSpPr>
            <a:spLocks noGrp="1"/>
          </p:cNvSpPr>
          <p:nvPr>
            <p:ph type="ctrTitle" hasCustomPrompt="1"/>
          </p:nvPr>
        </p:nvSpPr>
        <p:spPr>
          <a:xfrm>
            <a:off x="1185544" y="3418892"/>
            <a:ext cx="9820800" cy="812530"/>
          </a:xfrm>
        </p:spPr>
        <p:txBody>
          <a:bodyPr anchor="b" anchorCtr="0"/>
          <a:lstStyle>
            <a:lvl1pPr algn="l">
              <a:lnSpc>
                <a:spcPct val="88000"/>
              </a:lnSpc>
              <a:defRPr sz="6000">
                <a:solidFill>
                  <a:schemeClr val="bg1"/>
                </a:solidFill>
                <a:latin typeface="+mj-lt"/>
              </a:defRPr>
            </a:lvl1pPr>
          </a:lstStyle>
          <a:p>
            <a:r>
              <a:rPr lang="en-GB"/>
              <a:t>Document title</a:t>
            </a:r>
          </a:p>
        </p:txBody>
      </p:sp>
      <p:sp>
        <p:nvSpPr>
          <p:cNvPr id="10" name="Subtitle 2">
            <a:extLst>
              <a:ext uri="{FF2B5EF4-FFF2-40B4-BE49-F238E27FC236}">
                <a16:creationId xmlns:a16="http://schemas.microsoft.com/office/drawing/2014/main" id="{D45827C9-16C0-4064-BFD5-E96CC61FAE43}"/>
              </a:ext>
            </a:extLst>
          </p:cNvPr>
          <p:cNvSpPr>
            <a:spLocks noGrp="1"/>
          </p:cNvSpPr>
          <p:nvPr>
            <p:ph type="subTitle" idx="1" hasCustomPrompt="1"/>
          </p:nvPr>
        </p:nvSpPr>
        <p:spPr>
          <a:xfrm>
            <a:off x="1185544" y="4341878"/>
            <a:ext cx="9820800" cy="387798"/>
          </a:xfrm>
        </p:spPr>
        <p:txBody>
          <a:bodyPr>
            <a:spAutoFit/>
          </a:bodyPr>
          <a:lstStyle>
            <a:lvl1pPr marL="0" indent="0" algn="l">
              <a:spcBef>
                <a:spcPts val="0"/>
              </a:spcBef>
              <a:buFont typeface="Arial" panose="020B0604020202020204" pitchFamily="34" charset="0"/>
              <a:buChar char="​"/>
              <a:defRPr sz="2800">
                <a:solidFill>
                  <a:schemeClr val="bg1"/>
                </a:solidFill>
                <a:latin typeface="+mj-lt"/>
              </a:defRPr>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GB"/>
              <a:t>Subtitle</a:t>
            </a:r>
          </a:p>
        </p:txBody>
      </p:sp>
      <p:sp>
        <p:nvSpPr>
          <p:cNvPr id="16" name="Text Placeholder date">
            <a:extLst>
              <a:ext uri="{FF2B5EF4-FFF2-40B4-BE49-F238E27FC236}">
                <a16:creationId xmlns:a16="http://schemas.microsoft.com/office/drawing/2014/main" id="{9CC4291F-C940-4903-9F04-90EF9922961C}"/>
              </a:ext>
            </a:extLst>
          </p:cNvPr>
          <p:cNvSpPr>
            <a:spLocks noGrp="1"/>
          </p:cNvSpPr>
          <p:nvPr>
            <p:ph type="body" sz="quarter" idx="11" hasCustomPrompt="1"/>
          </p:nvPr>
        </p:nvSpPr>
        <p:spPr>
          <a:xfrm>
            <a:off x="1185544" y="5195283"/>
            <a:ext cx="9820800" cy="180000"/>
          </a:xfrm>
        </p:spPr>
        <p:txBody>
          <a:bodyPr vert="horz" lIns="0" tIns="0" rIns="0" bIns="0" rtlCol="0" anchor="t" anchorCtr="0">
            <a:noAutofit/>
          </a:bodyPr>
          <a:lstStyle>
            <a:lvl1pPr>
              <a:defRPr lang="en-GB" dirty="0">
                <a:solidFill>
                  <a:schemeClr val="bg1"/>
                </a:solidFill>
                <a:latin typeface="+mj-lt"/>
              </a:defRPr>
            </a:lvl1pPr>
          </a:lstStyle>
          <a:p>
            <a:pPr marL="0" lvl="0" indent="0">
              <a:buNone/>
            </a:pPr>
            <a:r>
              <a:rPr lang="en-GB"/>
              <a:t>Document type | Date</a:t>
            </a:r>
          </a:p>
        </p:txBody>
      </p:sp>
      <p:pic>
        <p:nvPicPr>
          <p:cNvPr id="8" name="Logo">
            <a:extLst>
              <a:ext uri="{FF2B5EF4-FFF2-40B4-BE49-F238E27FC236}">
                <a16:creationId xmlns:a16="http://schemas.microsoft.com/office/drawing/2014/main" id="{D40C783F-78D8-4A90-BB1C-5A39BAD6F217}"/>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708142" y="5946270"/>
            <a:ext cx="1566393" cy="455865"/>
          </a:xfrm>
          <a:prstGeom prst="rect">
            <a:avLst/>
          </a:prstGeom>
        </p:spPr>
      </p:pic>
      <p:sp>
        <p:nvSpPr>
          <p:cNvPr id="9" name="TextBox 8">
            <a:extLst>
              <a:ext uri="{FF2B5EF4-FFF2-40B4-BE49-F238E27FC236}">
                <a16:creationId xmlns:a16="http://schemas.microsoft.com/office/drawing/2014/main" id="{C008C8EF-0481-4B17-8C93-E1441D20D06A}"/>
              </a:ext>
            </a:extLst>
          </p:cNvPr>
          <p:cNvSpPr txBox="1"/>
          <p:nvPr userDrawn="1"/>
        </p:nvSpPr>
        <p:spPr>
          <a:xfrm>
            <a:off x="8501974" y="5866426"/>
            <a:ext cx="2981884" cy="615553"/>
          </a:xfrm>
          <a:prstGeom prst="rect">
            <a:avLst/>
          </a:prstGeom>
          <a:noFill/>
        </p:spPr>
        <p:txBody>
          <a:bodyPr vert="horz" wrap="square" lIns="0" tIns="0" rIns="0" bIns="0" rtlCol="0" anchor="ctr">
            <a:spAutoFit/>
          </a:bodyPr>
          <a:lstStyle>
            <a:defPPr>
              <a:defRPr lang="en-US"/>
            </a:defPPr>
            <a:lvl1pPr algn="r">
              <a:defRPr sz="2000" i="0">
                <a:solidFill>
                  <a:schemeClr val="accent1"/>
                </a:solidFill>
                <a:latin typeface="+mj-lt"/>
              </a:defRPr>
            </a:lvl1pPr>
          </a:lstStyle>
          <a:p>
            <a:pPr lvl="0"/>
            <a:r>
              <a:rPr lang="en-GB">
                <a:solidFill>
                  <a:schemeClr val="bg1"/>
                </a:solidFill>
                <a:latin typeface="+mj-lt"/>
              </a:rPr>
              <a:t>We connect Denmark.</a:t>
            </a:r>
          </a:p>
          <a:p>
            <a:pPr lvl="0"/>
            <a:r>
              <a:rPr lang="en-GB">
                <a:solidFill>
                  <a:schemeClr val="bg1"/>
                </a:solidFill>
                <a:latin typeface="+mj-lt"/>
              </a:rPr>
              <a:t>To benefit everyone.</a:t>
            </a:r>
          </a:p>
        </p:txBody>
      </p:sp>
    </p:spTree>
    <p:extLst>
      <p:ext uri="{BB962C8B-B14F-4D97-AF65-F5344CB8AC3E}">
        <p14:creationId xmlns:p14="http://schemas.microsoft.com/office/powerpoint/2010/main" val="3842722111"/>
      </p:ext>
    </p:extLst>
  </p:cSld>
  <p:clrMapOvr>
    <a:masterClrMapping/>
  </p:clrMapOvr>
  <p:hf hdr="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763888-BF76-4981-A0B7-E3EBAAD54507}"/>
              </a:ext>
            </a:extLst>
          </p:cNvPr>
          <p:cNvGraphicFramePr>
            <a:graphicFrameLocks noChangeAspect="1"/>
          </p:cNvGraphicFramePr>
          <p:nvPr userDrawn="1">
            <p:custDataLst>
              <p:tags r:id="rId1"/>
            </p:custDataLst>
            <p:extLst>
              <p:ext uri="{D42A27DB-BD31-4B8C-83A1-F6EECF244321}">
                <p14:modId xmlns:p14="http://schemas.microsoft.com/office/powerpoint/2010/main" val="2834395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8763888-BF76-4981-A0B7-E3EBAAD54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685BA90-E0E4-4A8B-A03B-1A28314E79ED}"/>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pic>
        <p:nvPicPr>
          <p:cNvPr id="6" name="Picture 5">
            <a:extLst>
              <a:ext uri="{FF2B5EF4-FFF2-40B4-BE49-F238E27FC236}">
                <a16:creationId xmlns:a16="http://schemas.microsoft.com/office/drawing/2014/main" id="{3FEA4270-AC08-473E-8388-0874F8A52C7A}"/>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CCDB4457-DABA-4F21-B50A-59482296185F}"/>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2" name="Text Placeholder 2">
            <a:extLst>
              <a:ext uri="{FF2B5EF4-FFF2-40B4-BE49-F238E27FC236}">
                <a16:creationId xmlns:a16="http://schemas.microsoft.com/office/drawing/2014/main" id="{5F7E8472-4CD3-4C8C-942E-F9E6FF27DB0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57200" indent="-4572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lang="en-US" sz="3200" b="1" kern="1200" dirty="0" smtClean="0">
                <a:solidFill>
                  <a:schemeClr val="accent2"/>
                </a:solidFill>
                <a:latin typeface="+mn-lt"/>
                <a:ea typeface="+mn-ea"/>
                <a:cs typeface="+mn-cs"/>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9" name="Slide Number Placeholder 5 (FAST)">
            <a:extLst>
              <a:ext uri="{FF2B5EF4-FFF2-40B4-BE49-F238E27FC236}">
                <a16:creationId xmlns:a16="http://schemas.microsoft.com/office/drawing/2014/main" id="{CF730F75-F6B6-4072-9161-7CCAFDE48BA6}"/>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2"/>
              </a:solidFill>
              <a:latin typeface="+mj-lt"/>
              <a:ea typeface="+mn-ea"/>
              <a:cs typeface="+mn-cs"/>
            </a:endParaRPr>
          </a:p>
        </p:txBody>
      </p:sp>
      <p:pic>
        <p:nvPicPr>
          <p:cNvPr id="13" name="Logo">
            <a:extLst>
              <a:ext uri="{FF2B5EF4-FFF2-40B4-BE49-F238E27FC236}">
                <a16:creationId xmlns:a16="http://schemas.microsoft.com/office/drawing/2014/main" id="{C84B7475-F1E0-49E3-9132-7D5519CE7EF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41865172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DDE9AE-6E5B-4553-87F0-D2D616A504DE}"/>
              </a:ext>
            </a:extLst>
          </p:cNvPr>
          <p:cNvGraphicFramePr>
            <a:graphicFrameLocks noChangeAspect="1"/>
          </p:cNvGraphicFramePr>
          <p:nvPr userDrawn="1">
            <p:custDataLst>
              <p:tags r:id="rId1"/>
            </p:custDataLst>
            <p:extLst>
              <p:ext uri="{D42A27DB-BD31-4B8C-83A1-F6EECF244321}">
                <p14:modId xmlns:p14="http://schemas.microsoft.com/office/powerpoint/2010/main" val="345500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EDDDE9AE-6E5B-4553-87F0-D2D616A504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3ED250-63E0-4E1D-A4E4-A931D1F0A19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pic>
        <p:nvPicPr>
          <p:cNvPr id="2" name="Picture 1">
            <a:extLst>
              <a:ext uri="{FF2B5EF4-FFF2-40B4-BE49-F238E27FC236}">
                <a16:creationId xmlns:a16="http://schemas.microsoft.com/office/drawing/2014/main" id="{FD37217D-E052-4F59-9803-ABB7EC8E2D09}"/>
              </a:ext>
            </a:extLst>
          </p:cNvPr>
          <p:cNvPicPr>
            <a:picLocks noChangeAspect="1"/>
          </p:cNvPicPr>
          <p:nvPr userDrawn="1"/>
        </p:nvPicPr>
        <p:blipFill>
          <a:blip r:embed="rId6"/>
          <a:stretch>
            <a:fillRect/>
          </a:stretch>
        </p:blipFill>
        <p:spPr>
          <a:xfrm>
            <a:off x="0" y="0"/>
            <a:ext cx="12192000" cy="6857999"/>
          </a:xfrm>
          <a:prstGeom prst="rect">
            <a:avLst/>
          </a:prstGeom>
        </p:spPr>
      </p:pic>
      <p:sp>
        <p:nvSpPr>
          <p:cNvPr id="7" name="Title 6">
            <a:extLst>
              <a:ext uri="{FF2B5EF4-FFF2-40B4-BE49-F238E27FC236}">
                <a16:creationId xmlns:a16="http://schemas.microsoft.com/office/drawing/2014/main" id="{1925D78C-6B57-4C8C-8124-43E64141FE5E}"/>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2" name="Text Placeholder 2">
            <a:extLst>
              <a:ext uri="{FF2B5EF4-FFF2-40B4-BE49-F238E27FC236}">
                <a16:creationId xmlns:a16="http://schemas.microsoft.com/office/drawing/2014/main" id="{84BA4DA2-2DCF-4AA8-A6BD-98A5F122B874}"/>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solidFill>
                  <a:schemeClr val="accent2"/>
                </a:solidFill>
                <a:latin typeface="+mj-lt"/>
              </a:defRPr>
            </a:lvl1pPr>
            <a:lvl2pPr marL="936000" indent="-468000">
              <a:spcBef>
                <a:spcPts val="900"/>
              </a:spcBef>
              <a:buClr>
                <a:schemeClr val="accent2"/>
              </a:buClr>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F6B9A156-7185-407B-A779-E7861115D13E}"/>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2"/>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2"/>
              </a:solidFill>
              <a:latin typeface="+mj-lt"/>
              <a:ea typeface="+mn-ea"/>
              <a:cs typeface="+mn-cs"/>
            </a:endParaRPr>
          </a:p>
        </p:txBody>
      </p:sp>
      <p:pic>
        <p:nvPicPr>
          <p:cNvPr id="15" name="Logo">
            <a:extLst>
              <a:ext uri="{FF2B5EF4-FFF2-40B4-BE49-F238E27FC236}">
                <a16:creationId xmlns:a16="http://schemas.microsoft.com/office/drawing/2014/main" id="{06820E0F-391F-427B-94C8-41695AD55D0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9402611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DD08B0CC-3A6C-42FF-A8CB-1F0BF631D3F0}"/>
              </a:ext>
            </a:extLst>
          </p:cNvPr>
          <p:cNvSpPr/>
          <p:nvPr userDrawn="1"/>
        </p:nvSpPr>
        <p:spPr>
          <a:xfrm>
            <a:off x="0" y="0"/>
            <a:ext cx="12193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latin typeface="+mj-lt"/>
            </a:endParaRPr>
          </a:p>
        </p:txBody>
      </p:sp>
      <p:sp>
        <p:nvSpPr>
          <p:cNvPr id="8" name="Title 7">
            <a:extLst>
              <a:ext uri="{FF2B5EF4-FFF2-40B4-BE49-F238E27FC236}">
                <a16:creationId xmlns:a16="http://schemas.microsoft.com/office/drawing/2014/main" id="{A57E3901-C7C6-43D8-804C-0B7620408A00}"/>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14" name="Text Placeholder 2">
            <a:extLst>
              <a:ext uri="{FF2B5EF4-FFF2-40B4-BE49-F238E27FC236}">
                <a16:creationId xmlns:a16="http://schemas.microsoft.com/office/drawing/2014/main" id="{1AA1B8C7-CC3D-42E5-9A1B-3E89340A0930}"/>
              </a:ext>
            </a:extLst>
          </p:cNvPr>
          <p:cNvSpPr>
            <a:spLocks noGrp="1"/>
          </p:cNvSpPr>
          <p:nvPr>
            <p:ph type="body" sz="quarter" idx="19"/>
          </p:nvPr>
        </p:nvSpPr>
        <p:spPr>
          <a:xfrm>
            <a:off x="588000" y="1376363"/>
            <a:ext cx="11016000" cy="4824000"/>
          </a:xfrm>
        </p:spPr>
        <p:txBody>
          <a:bodyPr anchor="ctr" anchorCtr="0"/>
          <a:lstStyle>
            <a:lvl1pPr marL="514350" indent="-468000">
              <a:spcBef>
                <a:spcPts val="900"/>
              </a:spcBef>
              <a:buClrTx/>
              <a:buSzPct val="100000"/>
              <a:buFont typeface="+mj-lt"/>
              <a:buAutoNum type="arabicPeriod"/>
              <a:defRPr sz="2400" b="1">
                <a:latin typeface="+mj-lt"/>
              </a:defRPr>
            </a:lvl1pPr>
            <a:lvl2pPr marL="936000" indent="-468000">
              <a:spcBef>
                <a:spcPts val="900"/>
              </a:spcBef>
              <a:buClrTx/>
              <a:buSzPct val="100000"/>
              <a:buFont typeface="+mj-lt"/>
              <a:buAutoNum type="arabicPeriod"/>
              <a:defRPr sz="2400" b="1">
                <a:solidFill>
                  <a:schemeClr val="accent2"/>
                </a:solidFill>
                <a:latin typeface="+mj-lt"/>
              </a:defRPr>
            </a:lvl2pPr>
            <a:lvl3pPr marL="468000" indent="-468000">
              <a:spcBef>
                <a:spcPts val="900"/>
              </a:spcBef>
              <a:buClrTx/>
              <a:buSzPct val="100000"/>
              <a:buFont typeface="TDC NET Office" panose="00000500000000000000" pitchFamily="2" charset="0"/>
              <a:buChar char="→"/>
              <a:defRPr sz="2400" b="1">
                <a:solidFill>
                  <a:schemeClr val="accent1"/>
                </a:solidFill>
                <a:latin typeface="+mj-lt"/>
              </a:defRPr>
            </a:lvl3pPr>
            <a:lvl4pPr marL="468000" indent="-468000">
              <a:spcBef>
                <a:spcPts val="900"/>
              </a:spcBef>
              <a:buFont typeface="+mj-lt"/>
              <a:buAutoNum type="arabicPeriod"/>
              <a:defRPr sz="2400" b="1">
                <a:solidFill>
                  <a:schemeClr val="accent2"/>
                </a:solidFill>
                <a:latin typeface="+mj-lt"/>
              </a:defRPr>
            </a:lvl4pPr>
            <a:lvl5pPr marL="468000" indent="-468000">
              <a:spcBef>
                <a:spcPts val="1200"/>
              </a:spcBef>
              <a:buFont typeface="+mj-lt"/>
              <a:buAutoNum type="arabicPeriod"/>
              <a:defRPr sz="3200" b="1">
                <a:solidFill>
                  <a:schemeClr val="accent2"/>
                </a:solidFill>
              </a:defRPr>
            </a:lvl5pPr>
            <a:lvl6pPr marL="468000" indent="-468000">
              <a:spcBef>
                <a:spcPts val="1200"/>
              </a:spcBef>
              <a:spcAft>
                <a:spcPts val="600"/>
              </a:spcAft>
              <a:buFont typeface="+mj-lt"/>
              <a:buAutoNum type="arabicPeriod"/>
              <a:defRPr sz="3200" b="1">
                <a:solidFill>
                  <a:schemeClr val="accent2"/>
                </a:solidFill>
              </a:defRPr>
            </a:lvl6pPr>
            <a:lvl7pPr marL="468000" indent="-468000">
              <a:spcBef>
                <a:spcPts val="1200"/>
              </a:spcBef>
              <a:spcAft>
                <a:spcPts val="600"/>
              </a:spcAft>
              <a:buFont typeface="+mj-lt"/>
              <a:buAutoNum type="arabicPeriod"/>
              <a:defRPr sz="3200" b="1">
                <a:solidFill>
                  <a:schemeClr val="accent2"/>
                </a:solidFill>
              </a:defRPr>
            </a:lvl7pPr>
            <a:lvl8pPr marL="468000" indent="-468000">
              <a:spcBef>
                <a:spcPts val="1200"/>
              </a:spcBef>
              <a:spcAft>
                <a:spcPts val="600"/>
              </a:spcAft>
              <a:buFont typeface="+mj-lt"/>
              <a:buAutoNum type="arabicPeriod"/>
              <a:defRPr sz="3200" b="1">
                <a:solidFill>
                  <a:schemeClr val="accent2"/>
                </a:solidFill>
              </a:defRPr>
            </a:lvl8pPr>
            <a:lvl9pPr marL="468000" indent="-468000">
              <a:spcBef>
                <a:spcPts val="1200"/>
              </a:spcBef>
              <a:spcAft>
                <a:spcPts val="600"/>
              </a:spcAft>
              <a:buFont typeface="+mj-lt"/>
              <a:buAutoNum type="arabicPeriod"/>
              <a:defRPr sz="3200" b="1">
                <a:solidFill>
                  <a:schemeClr val="accent2"/>
                </a:solidFill>
              </a:defRPr>
            </a:lvl9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3" name="Slide Number Placeholder 5 (FAST)">
            <a:extLst>
              <a:ext uri="{FF2B5EF4-FFF2-40B4-BE49-F238E27FC236}">
                <a16:creationId xmlns:a16="http://schemas.microsoft.com/office/drawing/2014/main" id="{29887B20-7814-4EE9-A79E-6E1560DE88CF}"/>
              </a:ext>
            </a:extLst>
          </p:cNvPr>
          <p:cNvSpPr txBox="1">
            <a:spLocks/>
          </p:cNvSpPr>
          <p:nvPr userDrawn="1"/>
        </p:nvSpPr>
        <p:spPr>
          <a:xfrm>
            <a:off x="11635200" y="6451200"/>
            <a:ext cx="252000" cy="1800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pic>
        <p:nvPicPr>
          <p:cNvPr id="16" name="Logo">
            <a:extLst>
              <a:ext uri="{FF2B5EF4-FFF2-40B4-BE49-F238E27FC236}">
                <a16:creationId xmlns:a16="http://schemas.microsoft.com/office/drawing/2014/main" id="{E3D2A796-0795-4AF4-A31C-A6233934C2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Tree>
    <p:extLst>
      <p:ext uri="{BB962C8B-B14F-4D97-AF65-F5344CB8AC3E}">
        <p14:creationId xmlns:p14="http://schemas.microsoft.com/office/powerpoint/2010/main" val="37138970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Repor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66ECE53-18FB-4838-BC40-01E4D1E96904}"/>
              </a:ext>
            </a:extLst>
          </p:cNvPr>
          <p:cNvSpPr>
            <a:spLocks noGrp="1"/>
          </p:cNvSpPr>
          <p:nvPr>
            <p:ph type="title"/>
          </p:nvPr>
        </p:nvSpPr>
        <p:spPr>
          <a:xfrm>
            <a:off x="588000" y="396000"/>
            <a:ext cx="11016000" cy="319318"/>
          </a:xfrm>
        </p:spPr>
        <p:txBody>
          <a:bodyPr wrap="square">
            <a:spAutoFit/>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11016000" cy="4824000"/>
          </a:xfrm>
        </p:spPr>
        <p:txBody>
          <a:bodyPr/>
          <a:lstStyle>
            <a:lvl1pPr>
              <a:buSzPct val="110000"/>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8" name="Text Placeholder note">
            <a:extLst>
              <a:ext uri="{FF2B5EF4-FFF2-40B4-BE49-F238E27FC236}">
                <a16:creationId xmlns:a16="http://schemas.microsoft.com/office/drawing/2014/main" id="{D89EF5F8-4B69-4EC4-BF21-3911EEA699CE}"/>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4655803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142A49F-08E5-4F4D-8751-51CEFBAD2D57}"/>
              </a:ext>
            </a:extLst>
          </p:cNvPr>
          <p:cNvSpPr>
            <a:spLocks noGrp="1"/>
          </p:cNvSpPr>
          <p:nvPr>
            <p:ph type="title"/>
          </p:nvPr>
        </p:nvSpPr>
        <p:spPr>
          <a:xfrm>
            <a:off x="588000" y="396000"/>
            <a:ext cx="11016000" cy="319318"/>
          </a:xfrm>
        </p:spPr>
        <p:txBody>
          <a:bodyPr/>
          <a:lstStyle>
            <a:lvl1pPr>
              <a:defRPr>
                <a:latin typeface="+mj-lt"/>
              </a:defRPr>
            </a:lvl1pPr>
          </a:lstStyle>
          <a:p>
            <a:r>
              <a:rPr lang="da-DK"/>
              <a:t>Klik for at redigere titeltypografien i masteren</a:t>
            </a:r>
            <a:endParaRPr lang="en-GB"/>
          </a:p>
        </p:txBody>
      </p:sp>
      <p:sp>
        <p:nvSpPr>
          <p:cNvPr id="3" name="Content Placeholder 2"/>
          <p:cNvSpPr>
            <a:spLocks noGrp="1"/>
          </p:cNvSpPr>
          <p:nvPr>
            <p:ph idx="1"/>
          </p:nvPr>
        </p:nvSpPr>
        <p:spPr>
          <a:xfrm>
            <a:off x="588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p:nvPr>
        </p:nvSpPr>
        <p:spPr>
          <a:xfrm>
            <a:off x="6384000" y="1376363"/>
            <a:ext cx="5220000" cy="4824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19" name="Text Placeholder note">
            <a:extLst>
              <a:ext uri="{FF2B5EF4-FFF2-40B4-BE49-F238E27FC236}">
                <a16:creationId xmlns:a16="http://schemas.microsoft.com/office/drawing/2014/main" id="{648E688D-D49E-48B7-BAC7-06F39056C1B1}"/>
              </a:ext>
            </a:extLst>
          </p:cNvPr>
          <p:cNvSpPr>
            <a:spLocks noGrp="1"/>
          </p:cNvSpPr>
          <p:nvPr>
            <p:ph type="body" sz="quarter" idx="26"/>
          </p:nvPr>
        </p:nvSpPr>
        <p:spPr>
          <a:xfrm>
            <a:off x="1632000" y="6471189"/>
            <a:ext cx="9972000" cy="138499"/>
          </a:xfrm>
        </p:spPr>
        <p:txBody>
          <a:bodyPr anchor="ctr" anchorCtr="0">
            <a:spAutoFit/>
          </a:bodyPr>
          <a:lstStyle>
            <a:lvl1pPr marL="162000" indent="-162000">
              <a:spcAft>
                <a:spcPts val="0"/>
              </a:spcAft>
              <a:buClrTx/>
              <a:buSzPct val="100000"/>
              <a:buFont typeface="+mj-lt"/>
              <a:buAutoNum type="arabicPeriod"/>
              <a:defRPr sz="1000">
                <a:solidFill>
                  <a:srgbClr val="787878"/>
                </a:solidFill>
                <a:latin typeface="+mj-lt"/>
              </a:defRPr>
            </a:lvl1pPr>
          </a:lstStyle>
          <a:p>
            <a:pPr lvl="0"/>
            <a:r>
              <a:rPr lang="da-DK"/>
              <a:t>Klik for at redigere teksttypografierne i masteren</a:t>
            </a:r>
          </a:p>
        </p:txBody>
      </p:sp>
    </p:spTree>
    <p:extLst>
      <p:ext uri="{BB962C8B-B14F-4D97-AF65-F5344CB8AC3E}">
        <p14:creationId xmlns:p14="http://schemas.microsoft.com/office/powerpoint/2010/main" val="319610433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oleObject" Target="../embeddings/oleObject11.bin"/><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tags" Target="../tags/tag2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2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heme" Target="../theme/theme2.xml"/><Relationship Id="rId28" Type="http://schemas.openxmlformats.org/officeDocument/2006/relationships/image" Target="../media/image2.emf"/><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tags" Target="../tags/tag46.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heme" Target="../theme/theme3.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oleObject" Target="../embeddings/oleObject23.bin"/><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tags" Target="../tags/tag47.xml"/><Relationship Id="rId30"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oleObject" Target="../embeddings/oleObject35.bin"/><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ags" Target="../tags/tag70.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ags" Target="../tags/tag69.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theme" Target="../theme/theme4.xml"/><Relationship Id="rId28" Type="http://schemas.openxmlformats.org/officeDocument/2006/relationships/image" Target="../media/image2.emf"/><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tags" Target="../tags/tag93.x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image" Target="../media/image1.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oleObject" Target="../embeddings/oleObject47.bin"/><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tags" Target="../tags/tag94.xml"/><Relationship Id="rId30"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oleObject" Target="../embeddings/oleObject59.bin"/><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tags" Target="../tags/tag11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tags" Target="../tags/tag11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theme" Target="../theme/theme6.xml"/><Relationship Id="rId28" Type="http://schemas.openxmlformats.org/officeDocument/2006/relationships/image" Target="../media/image2.emf"/><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9" Type="http://schemas.openxmlformats.org/officeDocument/2006/relationships/slideLayout" Target="../slideLayouts/slideLayout173.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42" Type="http://schemas.openxmlformats.org/officeDocument/2006/relationships/theme" Target="../theme/theme7.xml"/><Relationship Id="rId47" Type="http://schemas.openxmlformats.org/officeDocument/2006/relationships/image" Target="../media/image2.emf"/><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38" Type="http://schemas.openxmlformats.org/officeDocument/2006/relationships/slideLayout" Target="../slideLayouts/slideLayout172.xml"/><Relationship Id="rId46" Type="http://schemas.openxmlformats.org/officeDocument/2006/relationships/image" Target="../media/image1.emf"/><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41" Type="http://schemas.openxmlformats.org/officeDocument/2006/relationships/slideLayout" Target="../slideLayouts/slideLayout175.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37" Type="http://schemas.openxmlformats.org/officeDocument/2006/relationships/slideLayout" Target="../slideLayouts/slideLayout171.xml"/><Relationship Id="rId40" Type="http://schemas.openxmlformats.org/officeDocument/2006/relationships/slideLayout" Target="../slideLayouts/slideLayout174.xml"/><Relationship Id="rId45" Type="http://schemas.openxmlformats.org/officeDocument/2006/relationships/oleObject" Target="../embeddings/oleObject71.bin"/><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slideLayout" Target="../slideLayouts/slideLayout170.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4" Type="http://schemas.openxmlformats.org/officeDocument/2006/relationships/tags" Target="../tags/tag141.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 Id="rId43" Type="http://schemas.openxmlformats.org/officeDocument/2006/relationships/tags" Target="../tags/tag14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theme" Target="../theme/theme8.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oleObject" Target="../embeddings/oleObject89.bin"/><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tags" Target="../tags/tag177.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image" Target="../media/image2.emf"/><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tags" Target="../tags/tag17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2"/>
            </p:custDataLst>
            <p:extLst>
              <p:ext uri="{D42A27DB-BD31-4B8C-83A1-F6EECF244321}">
                <p14:modId xmlns:p14="http://schemas.microsoft.com/office/powerpoint/2010/main" val="399000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dirty="0"/>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69" r:id="rId1"/>
    <p:sldLayoutId id="2147483798" r:id="rId2"/>
    <p:sldLayoutId id="2147483808" r:id="rId3"/>
    <p:sldLayoutId id="2147483778" r:id="rId4"/>
    <p:sldLayoutId id="2147483763" r:id="rId5"/>
    <p:sldLayoutId id="2147483773" r:id="rId6"/>
    <p:sldLayoutId id="2147483765" r:id="rId7"/>
    <p:sldLayoutId id="2147483737" r:id="rId8"/>
    <p:sldLayoutId id="2147483796" r:id="rId9"/>
    <p:sldLayoutId id="2147483755" r:id="rId10"/>
    <p:sldLayoutId id="2147483804" r:id="rId11"/>
    <p:sldLayoutId id="2147483805" r:id="rId12"/>
    <p:sldLayoutId id="2147483806" r:id="rId13"/>
    <p:sldLayoutId id="2147483807" r:id="rId14"/>
    <p:sldLayoutId id="2147483780" r:id="rId15"/>
    <p:sldLayoutId id="2147483774" r:id="rId16"/>
    <p:sldLayoutId id="2147483770" r:id="rId17"/>
    <p:sldLayoutId id="2147483731" r:id="rId18"/>
    <p:sldLayoutId id="2147483775" r:id="rId19"/>
    <p:sldLayoutId id="2147483998" r:id="rId20"/>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userDrawn="1">
          <p15:clr>
            <a:srgbClr val="F26B43"/>
          </p15:clr>
        </p15:guide>
        <p15:guide id="2" pos="7310" userDrawn="1">
          <p15:clr>
            <a:srgbClr val="F26B43"/>
          </p15:clr>
        </p15:guide>
        <p15:guide id="3" orient="horz" pos="247" userDrawn="1">
          <p15:clr>
            <a:srgbClr val="F26B43"/>
          </p15:clr>
        </p15:guide>
        <p15:guide id="7" orient="horz" pos="867" userDrawn="1">
          <p15:clr>
            <a:srgbClr val="F26B43"/>
          </p15:clr>
        </p15:guide>
        <p15:guide id="8"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4"/>
            </p:custDataLst>
            <p:extLst>
              <p:ext uri="{D42A27DB-BD31-4B8C-83A1-F6EECF244321}">
                <p14:modId xmlns:p14="http://schemas.microsoft.com/office/powerpoint/2010/main" val="2764117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dirty="0"/>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spTree>
    <p:extLst>
      <p:ext uri="{BB962C8B-B14F-4D97-AF65-F5344CB8AC3E}">
        <p14:creationId xmlns:p14="http://schemas.microsoft.com/office/powerpoint/2010/main" val="330647858"/>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6"/>
            </p:custDataLst>
            <p:extLst>
              <p:ext uri="{D42A27DB-BD31-4B8C-83A1-F6EECF244321}">
                <p14:modId xmlns:p14="http://schemas.microsoft.com/office/powerpoint/2010/main" val="776261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1522034981"/>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4"/>
            </p:custDataLst>
            <p:extLst>
              <p:ext uri="{D42A27DB-BD31-4B8C-83A1-F6EECF244321}">
                <p14:modId xmlns:p14="http://schemas.microsoft.com/office/powerpoint/2010/main" val="396382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dirty="0"/>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spTree>
    <p:extLst>
      <p:ext uri="{BB962C8B-B14F-4D97-AF65-F5344CB8AC3E}">
        <p14:creationId xmlns:p14="http://schemas.microsoft.com/office/powerpoint/2010/main" val="1583301451"/>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 id="2147483876" r:id="rId18"/>
    <p:sldLayoutId id="2147483877" r:id="rId19"/>
    <p:sldLayoutId id="2147483878" r:id="rId20"/>
    <p:sldLayoutId id="2147483879" r:id="rId21"/>
    <p:sldLayoutId id="2147483880" r:id="rId22"/>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6"/>
            </p:custDataLst>
            <p:extLst>
              <p:ext uri="{D42A27DB-BD31-4B8C-83A1-F6EECF244321}">
                <p14:modId xmlns:p14="http://schemas.microsoft.com/office/powerpoint/2010/main" val="266435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3142956259"/>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 id="2147483896" r:id="rId15"/>
    <p:sldLayoutId id="2147483897" r:id="rId16"/>
    <p:sldLayoutId id="2147483898" r:id="rId17"/>
    <p:sldLayoutId id="2147483899" r:id="rId18"/>
    <p:sldLayoutId id="2147483900" r:id="rId19"/>
    <p:sldLayoutId id="2147483901" r:id="rId20"/>
    <p:sldLayoutId id="2147483902" r:id="rId21"/>
    <p:sldLayoutId id="2147483903" r:id="rId22"/>
    <p:sldLayoutId id="2147483904" r:id="rId23"/>
    <p:sldLayoutId id="2147483905" r:id="rId24"/>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4"/>
            </p:custDataLst>
            <p:extLst>
              <p:ext uri="{D42A27DB-BD31-4B8C-83A1-F6EECF244321}">
                <p14:modId xmlns:p14="http://schemas.microsoft.com/office/powerpoint/2010/main" val="2964266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dirty="0"/>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spTree>
    <p:extLst>
      <p:ext uri="{BB962C8B-B14F-4D97-AF65-F5344CB8AC3E}">
        <p14:creationId xmlns:p14="http://schemas.microsoft.com/office/powerpoint/2010/main" val="383356706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 id="2147483924" r:id="rId18"/>
    <p:sldLayoutId id="2147483925" r:id="rId19"/>
    <p:sldLayoutId id="2147483926" r:id="rId20"/>
    <p:sldLayoutId id="2147483927" r:id="rId21"/>
    <p:sldLayoutId id="2147483928" r:id="rId22"/>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43"/>
            </p:custDataLst>
            <p:extLst>
              <p:ext uri="{D42A27DB-BD31-4B8C-83A1-F6EECF244321}">
                <p14:modId xmlns:p14="http://schemas.microsoft.com/office/powerpoint/2010/main" val="368945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60" imgH="360" progId="TCLayout.ActiveDocument.1">
                  <p:embed/>
                </p:oleObj>
              </mc:Choice>
              <mc:Fallback>
                <p:oleObj name="think-cell Slide" r:id="rId45"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4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dirty="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dirty="0"/>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dirty="0">
              <a:solidFill>
                <a:schemeClr val="accent1"/>
              </a:solidFill>
              <a:latin typeface="+mj-lt"/>
              <a:ea typeface="+mn-ea"/>
              <a:cs typeface="+mn-cs"/>
            </a:endParaRPr>
          </a:p>
        </p:txBody>
      </p:sp>
    </p:spTree>
    <p:extLst>
      <p:ext uri="{BB962C8B-B14F-4D97-AF65-F5344CB8AC3E}">
        <p14:creationId xmlns:p14="http://schemas.microsoft.com/office/powerpoint/2010/main" val="1771173531"/>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 id="2147483954" r:id="rId25"/>
    <p:sldLayoutId id="2147483955" r:id="rId26"/>
    <p:sldLayoutId id="2147483956" r:id="rId27"/>
    <p:sldLayoutId id="2147483957" r:id="rId28"/>
    <p:sldLayoutId id="2147483958" r:id="rId29"/>
    <p:sldLayoutId id="2147483959" r:id="rId30"/>
    <p:sldLayoutId id="2147483960" r:id="rId31"/>
    <p:sldLayoutId id="2147483961" r:id="rId32"/>
    <p:sldLayoutId id="2147483962" r:id="rId33"/>
    <p:sldLayoutId id="2147483963" r:id="rId34"/>
    <p:sldLayoutId id="2147483964" r:id="rId35"/>
    <p:sldLayoutId id="2147483965" r:id="rId36"/>
    <p:sldLayoutId id="2147483966" r:id="rId37"/>
    <p:sldLayoutId id="2147483967" r:id="rId38"/>
    <p:sldLayoutId id="2147483968" r:id="rId39"/>
    <p:sldLayoutId id="2147483969" r:id="rId40"/>
    <p:sldLayoutId id="2147483997" r:id="rId41"/>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5C363D-CDBA-4429-AE0C-A96429D0F89A}"/>
              </a:ext>
            </a:extLst>
          </p:cNvPr>
          <p:cNvGraphicFramePr>
            <a:graphicFrameLocks noChangeAspect="1"/>
          </p:cNvGraphicFramePr>
          <p:nvPr userDrawn="1">
            <p:custDataLst>
              <p:tags r:id="rId27"/>
            </p:custDataLst>
            <p:extLst>
              <p:ext uri="{D42A27DB-BD31-4B8C-83A1-F6EECF244321}">
                <p14:modId xmlns:p14="http://schemas.microsoft.com/office/powerpoint/2010/main" val="404957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60" imgH="360" progId="TCLayout.ActiveDocument.1">
                  <p:embed/>
                </p:oleObj>
              </mc:Choice>
              <mc:Fallback>
                <p:oleObj name="think-cell Slide" r:id="rId29" imgW="360" imgH="360" progId="TCLayout.ActiveDocument.1">
                  <p:embed/>
                  <p:pic>
                    <p:nvPicPr>
                      <p:cNvPr id="4" name="Object 3" hidden="1">
                        <a:extLst>
                          <a:ext uri="{FF2B5EF4-FFF2-40B4-BE49-F238E27FC236}">
                            <a16:creationId xmlns:a16="http://schemas.microsoft.com/office/drawing/2014/main" id="{9F5C363D-CDBA-4429-AE0C-A96429D0F89A}"/>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9EE858-A0F3-4339-9165-9B901515FB7F}"/>
              </a:ext>
            </a:extLst>
          </p:cNvPr>
          <p:cNvSpPr/>
          <p:nvPr userDrawn="1">
            <p:custDataLst>
              <p:tags r:id="rId2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lnSpc>
                <a:spcPct val="90000"/>
              </a:lnSpc>
            </a:pPr>
            <a:endParaRPr lang="en-US" sz="2500" b="1" i="0" baseline="0" noProof="0" err="1">
              <a:latin typeface="TDC NET" panose="020B0604020202020204" charset="0"/>
              <a:ea typeface="+mj-ea"/>
              <a:cs typeface="+mj-cs"/>
              <a:sym typeface="TDC NET" panose="020B0604020202020204" charset="0"/>
            </a:endParaRPr>
          </a:p>
        </p:txBody>
      </p:sp>
      <p:sp>
        <p:nvSpPr>
          <p:cNvPr id="7" name="Title Placeholder 1">
            <a:extLst>
              <a:ext uri="{FF2B5EF4-FFF2-40B4-BE49-F238E27FC236}">
                <a16:creationId xmlns:a16="http://schemas.microsoft.com/office/drawing/2014/main" id="{C9392247-CE23-49BB-A39E-64C7575BE478}"/>
              </a:ext>
            </a:extLst>
          </p:cNvPr>
          <p:cNvSpPr>
            <a:spLocks noGrp="1"/>
          </p:cNvSpPr>
          <p:nvPr>
            <p:ph type="title"/>
          </p:nvPr>
        </p:nvSpPr>
        <p:spPr>
          <a:xfrm>
            <a:off x="588000" y="396000"/>
            <a:ext cx="11016000" cy="319318"/>
          </a:xfrm>
          <a:prstGeom prst="rect">
            <a:avLst/>
          </a:prstGeom>
        </p:spPr>
        <p:txBody>
          <a:bodyPr vert="horz" lIns="0" tIns="0" rIns="0" bIns="0" rtlCol="0" anchor="t" anchorCtr="0">
            <a:spAutoFit/>
          </a:bodyPr>
          <a:lstStyle/>
          <a:p>
            <a:r>
              <a:rPr lang="da-DK"/>
              <a:t>Klik for at redigere titeltypografien i masteren</a:t>
            </a:r>
            <a:endParaRPr lang="en-GB"/>
          </a:p>
        </p:txBody>
      </p:sp>
      <p:sp>
        <p:nvSpPr>
          <p:cNvPr id="3" name="Text Placeholder 2"/>
          <p:cNvSpPr>
            <a:spLocks noGrp="1"/>
          </p:cNvSpPr>
          <p:nvPr>
            <p:ph type="body" idx="1"/>
          </p:nvPr>
        </p:nvSpPr>
        <p:spPr>
          <a:xfrm>
            <a:off x="588000" y="1376364"/>
            <a:ext cx="11016000" cy="4824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pic>
        <p:nvPicPr>
          <p:cNvPr id="11" name="Logo">
            <a:extLst>
              <a:ext uri="{FF2B5EF4-FFF2-40B4-BE49-F238E27FC236}">
                <a16:creationId xmlns:a16="http://schemas.microsoft.com/office/drawing/2014/main" id="{8D1573CB-B9CB-48DE-8793-2EF5966CCC8D}"/>
              </a:ext>
            </a:extLst>
          </p:cNvPr>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302020" y="6399299"/>
            <a:ext cx="989149" cy="282278"/>
          </a:xfrm>
          <a:prstGeom prst="rect">
            <a:avLst/>
          </a:prstGeom>
        </p:spPr>
      </p:pic>
      <p:sp>
        <p:nvSpPr>
          <p:cNvPr id="9" name="Slide Number Placeholder 5 (FAST)">
            <a:extLst>
              <a:ext uri="{FF2B5EF4-FFF2-40B4-BE49-F238E27FC236}">
                <a16:creationId xmlns:a16="http://schemas.microsoft.com/office/drawing/2014/main" id="{EE1AAF57-C1B2-4B2C-8E32-649F93924984}"/>
              </a:ext>
            </a:extLst>
          </p:cNvPr>
          <p:cNvSpPr txBox="1">
            <a:spLocks/>
          </p:cNvSpPr>
          <p:nvPr userDrawn="1"/>
        </p:nvSpPr>
        <p:spPr>
          <a:xfrm>
            <a:off x="11584039" y="6463494"/>
            <a:ext cx="303161" cy="153888"/>
          </a:xfrm>
          <a:prstGeom prst="rect">
            <a:avLst/>
          </a:prstGeom>
        </p:spPr>
        <p:txBody>
          <a:bodyPr vert="horz" lIns="0" tIns="0" rIns="0" bIns="0"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3DFD3FF-FAEA-D841-BBBA-173DB513EC35}" type="slidenum">
              <a:rPr lang="en-GB" sz="1000" kern="1200" noProof="0" smtClean="0">
                <a:solidFill>
                  <a:schemeClr val="accent1"/>
                </a:solidFill>
                <a:latin typeface="+mj-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en-GB" sz="1000" kern="1200" noProof="0">
              <a:solidFill>
                <a:schemeClr val="accent1"/>
              </a:solidFill>
              <a:latin typeface="+mj-lt"/>
              <a:ea typeface="+mn-ea"/>
              <a:cs typeface="+mn-cs"/>
            </a:endParaRPr>
          </a:p>
        </p:txBody>
      </p:sp>
    </p:spTree>
    <p:extLst>
      <p:ext uri="{BB962C8B-B14F-4D97-AF65-F5344CB8AC3E}">
        <p14:creationId xmlns:p14="http://schemas.microsoft.com/office/powerpoint/2010/main" val="1317177259"/>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 id="2147483991" r:id="rId20"/>
    <p:sldLayoutId id="2147483992" r:id="rId21"/>
    <p:sldLayoutId id="2147483993" r:id="rId22"/>
    <p:sldLayoutId id="2147483994" r:id="rId23"/>
    <p:sldLayoutId id="2147483995" r:id="rId24"/>
    <p:sldLayoutId id="2147483996" r:id="rId25"/>
  </p:sldLayoutIdLst>
  <p:hf hdr="0" ftr="0"/>
  <p:txStyles>
    <p:titleStyle>
      <a:lvl1pPr algn="l" defTabSz="914400" rtl="0" eaLnBrk="1" latinLnBrk="0" hangingPunct="1">
        <a:lnSpc>
          <a:spcPct val="83000"/>
        </a:lnSpc>
        <a:spcBef>
          <a:spcPct val="0"/>
        </a:spcBef>
        <a:buNone/>
        <a:defRPr sz="2500" b="1" kern="1200">
          <a:solidFill>
            <a:schemeClr val="accent1"/>
          </a:solidFill>
          <a:latin typeface="+mj-lt"/>
          <a:ea typeface="+mj-ea"/>
          <a:cs typeface="+mj-cs"/>
        </a:defRPr>
      </a:lvl1pPr>
    </p:titleStyle>
    <p:body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pos="7310">
          <p15:clr>
            <a:srgbClr val="F26B43"/>
          </p15:clr>
        </p15:guide>
        <p15:guide id="3" orient="horz" pos="247">
          <p15:clr>
            <a:srgbClr val="F26B43"/>
          </p15:clr>
        </p15:guide>
        <p15:guide id="7" orient="horz" pos="867">
          <p15:clr>
            <a:srgbClr val="F26B43"/>
          </p15:clr>
        </p15:guide>
        <p15:guide id="8" orient="horz" pos="39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136.xml"/></Relationships>
</file>

<file path=ppt/slides/_rels/slide1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hyperlink" Target="https://tdcnet.dk/fiber/udbydere/"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72.jpeg"/></Relationships>
</file>

<file path=ppt/slides/_rels/slide13.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9.xml"/><Relationship Id="rId5" Type="http://schemas.openxmlformats.org/officeDocument/2006/relationships/image" Target="../media/image69.svg"/><Relationship Id="rId4" Type="http://schemas.openxmlformats.org/officeDocument/2006/relationships/image" Target="../media/image68.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02.bin"/><Relationship Id="rId3" Type="http://schemas.openxmlformats.org/officeDocument/2006/relationships/tags" Target="../tags/tag219.xml"/><Relationship Id="rId7" Type="http://schemas.openxmlformats.org/officeDocument/2006/relationships/slideLayout" Target="../slideLayouts/slideLayout20.xml"/><Relationship Id="rId2" Type="http://schemas.openxmlformats.org/officeDocument/2006/relationships/tags" Target="../tags/tag218.xml"/><Relationship Id="rId1" Type="http://schemas.openxmlformats.org/officeDocument/2006/relationships/customXml" Target="../../customXml/item11.xml"/><Relationship Id="rId6" Type="http://schemas.openxmlformats.org/officeDocument/2006/relationships/tags" Target="../tags/tag221.xml"/><Relationship Id="rId5" Type="http://schemas.openxmlformats.org/officeDocument/2006/relationships/tags" Target="../tags/tag220.xml"/><Relationship Id="rId4" Type="http://schemas.openxmlformats.org/officeDocument/2006/relationships/customXml" Target="../../customXml/item10.xml"/><Relationship Id="rId9" Type="http://schemas.openxmlformats.org/officeDocument/2006/relationships/image" Target="../media/image4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02.bin"/><Relationship Id="rId3" Type="http://schemas.openxmlformats.org/officeDocument/2006/relationships/tags" Target="../tags/tag201.xml"/><Relationship Id="rId7" Type="http://schemas.openxmlformats.org/officeDocument/2006/relationships/slideLayout" Target="../slideLayouts/slideLayout175.xml"/><Relationship Id="rId2" Type="http://schemas.openxmlformats.org/officeDocument/2006/relationships/tags" Target="../tags/tag200.xml"/><Relationship Id="rId1" Type="http://schemas.openxmlformats.org/officeDocument/2006/relationships/customXml" Target="../../customXml/item5.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customXml" Target="../../customXml/item4.xml"/><Relationship Id="rId9" Type="http://schemas.openxmlformats.org/officeDocument/2006/relationships/image" Target="../media/image42.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8.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image" Target="../media/image17.emf"/><Relationship Id="rId4" Type="http://schemas.openxmlformats.org/officeDocument/2006/relationships/oleObject" Target="../embeddings/oleObject103.bin"/></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02.bin"/><Relationship Id="rId3" Type="http://schemas.openxmlformats.org/officeDocument/2006/relationships/tags" Target="../tags/tag207.xml"/><Relationship Id="rId7" Type="http://schemas.openxmlformats.org/officeDocument/2006/relationships/slideLayout" Target="../slideLayouts/slideLayout20.xml"/><Relationship Id="rId2" Type="http://schemas.openxmlformats.org/officeDocument/2006/relationships/tags" Target="../tags/tag206.xml"/><Relationship Id="rId1" Type="http://schemas.openxmlformats.org/officeDocument/2006/relationships/customXml" Target="../../customXml/item7.xml"/><Relationship Id="rId6" Type="http://schemas.openxmlformats.org/officeDocument/2006/relationships/tags" Target="../tags/tag209.xml"/><Relationship Id="rId5" Type="http://schemas.openxmlformats.org/officeDocument/2006/relationships/tags" Target="../tags/tag208.xml"/><Relationship Id="rId4" Type="http://schemas.openxmlformats.org/officeDocument/2006/relationships/customXml" Target="../../customXml/item6.xml"/><Relationship Id="rId9" Type="http://schemas.openxmlformats.org/officeDocument/2006/relationships/image" Target="../media/image42.emf"/></Relationships>
</file>

<file path=ppt/slides/_rels/slide6.xml.rels><?xml version="1.0" encoding="UTF-8" standalone="yes"?>
<Relationships xmlns="http://schemas.openxmlformats.org/package/2006/relationships"><Relationship Id="rId8" Type="http://schemas.openxmlformats.org/officeDocument/2006/relationships/image" Target="../media/image50.jpg"/><Relationship Id="rId3" Type="http://schemas.openxmlformats.org/officeDocument/2006/relationships/slideLayout" Target="../slideLayouts/slideLayout12.xml"/><Relationship Id="rId7" Type="http://schemas.openxmlformats.org/officeDocument/2006/relationships/image" Target="../media/image49.jp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48.jpg"/><Relationship Id="rId5" Type="http://schemas.openxmlformats.org/officeDocument/2006/relationships/image" Target="../media/image47.emf"/><Relationship Id="rId4" Type="http://schemas.openxmlformats.org/officeDocument/2006/relationships/oleObject" Target="../embeddings/oleObject104.bin"/><Relationship Id="rId9" Type="http://schemas.openxmlformats.org/officeDocument/2006/relationships/image" Target="../media/image51.jpg"/></Relationships>
</file>

<file path=ppt/slides/_rels/slide7.xml.rels><?xml version="1.0" encoding="UTF-8" standalone="yes"?>
<Relationships xmlns="http://schemas.openxmlformats.org/package/2006/relationships"><Relationship Id="rId8" Type="http://schemas.openxmlformats.org/officeDocument/2006/relationships/image" Target="../media/image53.jp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slideLayout" Target="../slideLayouts/slideLayout12.xml"/><Relationship Id="rId7" Type="http://schemas.openxmlformats.org/officeDocument/2006/relationships/image" Target="../media/image52.jpg"/><Relationship Id="rId12" Type="http://schemas.openxmlformats.org/officeDocument/2006/relationships/image" Target="../media/image57.png"/><Relationship Id="rId17" Type="http://schemas.openxmlformats.org/officeDocument/2006/relationships/image" Target="../media/image62.png"/><Relationship Id="rId2" Type="http://schemas.openxmlformats.org/officeDocument/2006/relationships/tags" Target="../tags/tag213.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tags" Target="../tags/tag212.xml"/><Relationship Id="rId6" Type="http://schemas.openxmlformats.org/officeDocument/2006/relationships/image" Target="../media/image48.jpg"/><Relationship Id="rId11" Type="http://schemas.openxmlformats.org/officeDocument/2006/relationships/image" Target="../media/image56.png"/><Relationship Id="rId5" Type="http://schemas.openxmlformats.org/officeDocument/2006/relationships/image" Target="../media/image47.emf"/><Relationship Id="rId15" Type="http://schemas.openxmlformats.org/officeDocument/2006/relationships/image" Target="../media/image60.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oleObject" Target="../embeddings/oleObject105.bin"/><Relationship Id="rId9" Type="http://schemas.openxmlformats.org/officeDocument/2006/relationships/image" Target="../media/image54.png"/><Relationship Id="rId14" Type="http://schemas.openxmlformats.org/officeDocument/2006/relationships/image" Target="../media/image59.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02.bin"/><Relationship Id="rId3" Type="http://schemas.openxmlformats.org/officeDocument/2006/relationships/tags" Target="../tags/tag215.xml"/><Relationship Id="rId7" Type="http://schemas.openxmlformats.org/officeDocument/2006/relationships/slideLayout" Target="../slideLayouts/slideLayout20.xml"/><Relationship Id="rId2" Type="http://schemas.openxmlformats.org/officeDocument/2006/relationships/tags" Target="../tags/tag214.xml"/><Relationship Id="rId1" Type="http://schemas.openxmlformats.org/officeDocument/2006/relationships/customXml" Target="../../customXml/item9.xml"/><Relationship Id="rId6" Type="http://schemas.openxmlformats.org/officeDocument/2006/relationships/tags" Target="../tags/tag217.xml"/><Relationship Id="rId5" Type="http://schemas.openxmlformats.org/officeDocument/2006/relationships/tags" Target="../tags/tag216.xml"/><Relationship Id="rId4" Type="http://schemas.openxmlformats.org/officeDocument/2006/relationships/customXml" Target="../../customXml/item8.xml"/><Relationship Id="rId9" Type="http://schemas.openxmlformats.org/officeDocument/2006/relationships/image" Target="../media/image42.emf"/></Relationships>
</file>

<file path=ppt/slides/_rels/slide9.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3.xml"/><Relationship Id="rId5" Type="http://schemas.openxmlformats.org/officeDocument/2006/relationships/image" Target="../media/image69.svg"/><Relationship Id="rId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26D5AFB-629C-E443-9F22-48197BA1B646}"/>
              </a:ext>
            </a:extLst>
          </p:cNvPr>
          <p:cNvSpPr>
            <a:spLocks noGrp="1"/>
          </p:cNvSpPr>
          <p:nvPr>
            <p:ph type="ctrTitle"/>
          </p:nvPr>
        </p:nvSpPr>
        <p:spPr>
          <a:xfrm>
            <a:off x="592418" y="1004633"/>
            <a:ext cx="7723679" cy="866648"/>
          </a:xfrm>
        </p:spPr>
        <p:txBody>
          <a:bodyPr/>
          <a:lstStyle/>
          <a:p>
            <a:r>
              <a:rPr lang="da-DK" sz="3200" dirty="0"/>
              <a:t>Informationsmøde 22.november 2023</a:t>
            </a:r>
            <a:br>
              <a:rPr lang="da-DK" sz="3200" dirty="0"/>
            </a:br>
            <a:r>
              <a:rPr lang="da-DK" sz="3200" dirty="0"/>
              <a:t>Andelsboligforeningen Vegavænget</a:t>
            </a:r>
          </a:p>
        </p:txBody>
      </p:sp>
      <p:grpSp>
        <p:nvGrpSpPr>
          <p:cNvPr id="4" name="Group 14">
            <a:extLst>
              <a:ext uri="{FF2B5EF4-FFF2-40B4-BE49-F238E27FC236}">
                <a16:creationId xmlns:a16="http://schemas.microsoft.com/office/drawing/2014/main" id="{D2A400A4-0941-427F-B5C3-6A85D7905C3C}"/>
              </a:ext>
            </a:extLst>
          </p:cNvPr>
          <p:cNvGrpSpPr/>
          <p:nvPr/>
        </p:nvGrpSpPr>
        <p:grpSpPr>
          <a:xfrm>
            <a:off x="246430" y="2446953"/>
            <a:ext cx="2700405" cy="2700405"/>
            <a:chOff x="1601537" y="1746406"/>
            <a:chExt cx="3693695" cy="3693695"/>
          </a:xfrm>
          <a:solidFill>
            <a:srgbClr val="002060"/>
          </a:solidFill>
        </p:grpSpPr>
        <p:sp>
          <p:nvSpPr>
            <p:cNvPr id="7" name="TextBox 6">
              <a:extLst>
                <a:ext uri="{FF2B5EF4-FFF2-40B4-BE49-F238E27FC236}">
                  <a16:creationId xmlns:a16="http://schemas.microsoft.com/office/drawing/2014/main" id="{0E76FAA5-424F-42FB-83AF-F10A62459492}"/>
                </a:ext>
              </a:extLst>
            </p:cNvPr>
            <p:cNvSpPr txBox="1"/>
            <p:nvPr/>
          </p:nvSpPr>
          <p:spPr>
            <a:xfrm>
              <a:off x="1601537" y="1746406"/>
              <a:ext cx="3693695" cy="369369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defPPr>
                <a:defRPr lang="en-US"/>
              </a:defPPr>
              <a:lvl1pPr indent="-457200">
                <a:lnSpc>
                  <a:spcPct val="90000"/>
                </a:lnSpc>
                <a:spcAft>
                  <a:spcPts val="600"/>
                </a:spcAft>
                <a:buSzPct val="100000"/>
                <a:defRPr sz="1400">
                  <a:latin typeface="TDC NET" panose="00000500000000000000" pitchFamily="2" charset="0"/>
                </a:defRPr>
              </a:lvl1pPr>
              <a:lvl2pPr marL="216000" lvl="1" indent="-216000">
                <a:lnSpc>
                  <a:spcPct val="90000"/>
                </a:lnSpc>
                <a:spcAft>
                  <a:spcPts val="600"/>
                </a:spcAft>
                <a:buClr>
                  <a:schemeClr val="accent1">
                    <a:lumMod val="100000"/>
                  </a:schemeClr>
                </a:buClr>
                <a:buSzPct val="100000"/>
                <a:buFont typeface="Arial" panose="020B0604020202020204" pitchFamily="34" charset="0"/>
                <a:buChar char="●"/>
                <a:defRPr sz="1400">
                  <a:latin typeface="TDC NET" panose="00000500000000000000" pitchFamily="2" charset="0"/>
                </a:defRPr>
              </a:lvl2pPr>
              <a:lvl3pPr marL="432000" lvl="2" indent="-216000">
                <a:lnSpc>
                  <a:spcPct val="90000"/>
                </a:lnSpc>
                <a:spcAft>
                  <a:spcPts val="600"/>
                </a:spcAft>
                <a:buClr>
                  <a:schemeClr val="accent1">
                    <a:lumMod val="100000"/>
                  </a:schemeClr>
                </a:buClr>
                <a:buSzPct val="100000"/>
                <a:buFont typeface="Arial" panose="020B0604020202020204" pitchFamily="34" charset="0"/>
                <a:buChar char="−"/>
                <a:defRPr sz="1400">
                  <a:latin typeface="TDC NET" panose="00000500000000000000" pitchFamily="2" charset="0"/>
                </a:defRPr>
              </a:lvl3pPr>
              <a:lvl4pPr marL="648000" lvl="3" indent="-216000">
                <a:lnSpc>
                  <a:spcPct val="90000"/>
                </a:lnSpc>
                <a:spcAft>
                  <a:spcPts val="600"/>
                </a:spcAft>
                <a:buClr>
                  <a:schemeClr val="accent1">
                    <a:lumMod val="100000"/>
                  </a:schemeClr>
                </a:buClr>
                <a:buSzPct val="100000"/>
                <a:buFont typeface="Arial" panose="020B0604020202020204" pitchFamily="34" charset="0"/>
                <a:buChar char="●"/>
                <a:defRPr sz="1400">
                  <a:latin typeface="TDC NET" panose="00000500000000000000" pitchFamily="2" charset="0"/>
                </a:defRPr>
              </a:lvl4pPr>
              <a:lvl5pPr marL="0" lvl="4">
                <a:lnSpc>
                  <a:spcPct val="90000"/>
                </a:lnSpc>
                <a:spcAft>
                  <a:spcPts val="600"/>
                </a:spcAft>
                <a:buSzPct val="100000"/>
                <a:buFont typeface="Arial" panose="020B0604020202020204" pitchFamily="34" charset="0"/>
                <a:buChar char="​"/>
                <a:defRPr sz="1400">
                  <a:latin typeface="TDC NET" panose="00000500000000000000" pitchFamily="2"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dirty="0" err="1">
                <a:sym typeface="TDC NET" panose="00000500000000000000" pitchFamily="2" charset="0"/>
              </a:endParaRPr>
            </a:p>
          </p:txBody>
        </p:sp>
        <p:pic>
          <p:nvPicPr>
            <p:cNvPr id="8" name="Grafik 13">
              <a:extLst>
                <a:ext uri="{FF2B5EF4-FFF2-40B4-BE49-F238E27FC236}">
                  <a16:creationId xmlns:a16="http://schemas.microsoft.com/office/drawing/2014/main" id="{84EEFD63-4E46-4509-806B-39B748E81E7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393663" y="2393878"/>
              <a:ext cx="1968502" cy="560829"/>
            </a:xfrm>
            <a:prstGeom prst="rect">
              <a:avLst/>
            </a:prstGeom>
          </p:spPr>
        </p:pic>
        <p:sp>
          <p:nvSpPr>
            <p:cNvPr id="9" name="TextBox 12">
              <a:extLst>
                <a:ext uri="{FF2B5EF4-FFF2-40B4-BE49-F238E27FC236}">
                  <a16:creationId xmlns:a16="http://schemas.microsoft.com/office/drawing/2014/main" id="{D24F0CC0-D9ED-4BAA-99E9-E1331092F461}"/>
                </a:ext>
              </a:extLst>
            </p:cNvPr>
            <p:cNvSpPr txBox="1"/>
            <p:nvPr/>
          </p:nvSpPr>
          <p:spPr>
            <a:xfrm>
              <a:off x="1850752" y="3002488"/>
              <a:ext cx="3195263" cy="1181529"/>
            </a:xfrm>
            <a:prstGeom prst="rect">
              <a:avLst/>
            </a:prstGeom>
            <a:grpFill/>
          </p:spPr>
          <p:txBody>
            <a:bodyPr wrap="square" lIns="0" tIns="0" rIns="0" bIns="0" rtlCol="0">
              <a:noAutofit/>
            </a:bodyPr>
            <a:lstStyle>
              <a:defPPr>
                <a:defRPr lang="en-US"/>
              </a:defPPr>
              <a:lvl1pPr indent="-241200">
                <a:lnSpc>
                  <a:spcPct val="90000"/>
                </a:lnSpc>
                <a:spcAft>
                  <a:spcPts val="600"/>
                </a:spcAft>
                <a:buClr>
                  <a:schemeClr val="accent1"/>
                </a:buClr>
                <a:buSzPct val="100000"/>
                <a:buFont typeface="Arial" panose="020B0604020202020204" pitchFamily="34" charset="0"/>
                <a:buChar char="●"/>
                <a:defRPr sz="1400">
                  <a:solidFill>
                    <a:schemeClr val="accent2">
                      <a:lumMod val="100000"/>
                    </a:schemeClr>
                  </a:solidFill>
                  <a:latin typeface="TDC NET" panose="00000500000000000000" pitchFamily="2" charset="0"/>
                </a:defRPr>
              </a:lvl1pPr>
              <a:lvl2pPr marL="216000" lvl="1" indent="-216000">
                <a:lnSpc>
                  <a:spcPct val="90000"/>
                </a:lnSpc>
                <a:spcAft>
                  <a:spcPts val="600"/>
                </a:spcAft>
                <a:buClr>
                  <a:schemeClr val="accent1">
                    <a:lumMod val="100000"/>
                  </a:schemeClr>
                </a:buClr>
                <a:buSzPct val="100000"/>
                <a:buFont typeface="Arial" panose="020B0604020202020204" pitchFamily="34" charset="0"/>
                <a:buChar char="●"/>
                <a:defRPr sz="1400">
                  <a:solidFill>
                    <a:schemeClr val="accent2">
                      <a:lumMod val="100000"/>
                    </a:schemeClr>
                  </a:solidFill>
                  <a:latin typeface="TDC NET" panose="00000500000000000000" pitchFamily="2" charset="0"/>
                </a:defRPr>
              </a:lvl2pPr>
              <a:lvl3pPr marL="432000" lvl="2" indent="-216000">
                <a:lnSpc>
                  <a:spcPct val="90000"/>
                </a:lnSpc>
                <a:spcAft>
                  <a:spcPts val="600"/>
                </a:spcAft>
                <a:buClr>
                  <a:schemeClr val="accent1">
                    <a:lumMod val="100000"/>
                  </a:schemeClr>
                </a:buClr>
                <a:buSzPct val="100000"/>
                <a:buFont typeface="Arial" panose="020B0604020202020204" pitchFamily="34" charset="0"/>
                <a:buChar char="−"/>
                <a:defRPr sz="1400">
                  <a:solidFill>
                    <a:schemeClr val="accent2">
                      <a:lumMod val="100000"/>
                    </a:schemeClr>
                  </a:solidFill>
                  <a:latin typeface="TDC NET" panose="00000500000000000000" pitchFamily="2" charset="0"/>
                </a:defRPr>
              </a:lvl3pPr>
              <a:lvl4pPr marL="648000" lvl="3" indent="-216000">
                <a:lnSpc>
                  <a:spcPct val="90000"/>
                </a:lnSpc>
                <a:spcAft>
                  <a:spcPts val="600"/>
                </a:spcAft>
                <a:buClr>
                  <a:schemeClr val="accent1">
                    <a:lumMod val="100000"/>
                  </a:schemeClr>
                </a:buClr>
                <a:buSzPct val="100000"/>
                <a:buFont typeface="Arial" panose="020B0604020202020204" pitchFamily="34" charset="0"/>
                <a:buChar char="●"/>
                <a:defRPr sz="1400">
                  <a:solidFill>
                    <a:schemeClr val="accent2">
                      <a:lumMod val="100000"/>
                    </a:schemeClr>
                  </a:solidFill>
                  <a:latin typeface="TDC NET" panose="00000500000000000000" pitchFamily="2" charset="0"/>
                </a:defRPr>
              </a:lvl4pPr>
              <a:lvl5pPr marL="0" lvl="4">
                <a:lnSpc>
                  <a:spcPct val="90000"/>
                </a:lnSpc>
                <a:spcAft>
                  <a:spcPts val="600"/>
                </a:spcAft>
                <a:buSzPct val="100000"/>
                <a:buFont typeface="Arial" panose="020B0604020202020204" pitchFamily="34" charset="0"/>
                <a:buChar char="​"/>
                <a:defRPr sz="1400">
                  <a:solidFill>
                    <a:schemeClr val="accent2">
                      <a:lumMod val="100000"/>
                    </a:schemeClr>
                  </a:solidFill>
                  <a:latin typeface="TDC NET" panose="00000500000000000000" pitchFamily="2" charset="0"/>
                </a:defRPr>
              </a:lvl5pPr>
            </a:lstStyle>
            <a:p>
              <a:pPr marL="0" lvl="1" indent="0" algn="ctr">
                <a:buNone/>
              </a:pPr>
              <a:r>
                <a:rPr lang="da-DK" dirty="0">
                  <a:solidFill>
                    <a:schemeClr val="bg1"/>
                  </a:solidFill>
                  <a:sym typeface="TDC NET" panose="00000500000000000000" pitchFamily="2" charset="0"/>
                </a:rPr>
                <a:t>Jonas Milan Johansen</a:t>
              </a:r>
            </a:p>
            <a:p>
              <a:pPr marL="0" lvl="1" indent="0" algn="ctr">
                <a:buNone/>
              </a:pPr>
              <a:r>
                <a:rPr lang="da-DK" dirty="0">
                  <a:solidFill>
                    <a:schemeClr val="bg1"/>
                  </a:solidFill>
                  <a:sym typeface="TDC NET" panose="00000500000000000000" pitchFamily="2" charset="0"/>
                </a:rPr>
                <a:t>TDC NET</a:t>
              </a:r>
            </a:p>
            <a:p>
              <a:pPr marL="0" lvl="1" indent="0" algn="ctr">
                <a:buNone/>
              </a:pPr>
              <a:r>
                <a:rPr lang="da-DK" sz="1200" dirty="0">
                  <a:solidFill>
                    <a:schemeClr val="bg1"/>
                  </a:solidFill>
                  <a:sym typeface="TDC NET" panose="00000500000000000000" pitchFamily="2" charset="0"/>
                </a:rPr>
                <a:t>Commercial </a:t>
              </a:r>
              <a:r>
                <a:rPr lang="da-DK" sz="1200" dirty="0" err="1">
                  <a:solidFill>
                    <a:schemeClr val="bg1"/>
                  </a:solidFill>
                  <a:sym typeface="TDC NET" panose="00000500000000000000" pitchFamily="2" charset="0"/>
                </a:rPr>
                <a:t>Account</a:t>
              </a:r>
              <a:r>
                <a:rPr lang="da-DK" sz="1200" dirty="0">
                  <a:solidFill>
                    <a:schemeClr val="bg1"/>
                  </a:solidFill>
                  <a:sym typeface="TDC NET" panose="00000500000000000000" pitchFamily="2" charset="0"/>
                </a:rPr>
                <a:t> Manager</a:t>
              </a:r>
            </a:p>
          </p:txBody>
        </p:sp>
      </p:grpSp>
    </p:spTree>
    <p:extLst>
      <p:ext uri="{BB962C8B-B14F-4D97-AF65-F5344CB8AC3E}">
        <p14:creationId xmlns:p14="http://schemas.microsoft.com/office/powerpoint/2010/main" val="2521833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9FAFC2-6193-4542-BD0A-B70232FDA1B2}"/>
              </a:ext>
            </a:extLst>
          </p:cNvPr>
          <p:cNvSpPr>
            <a:spLocks noGrp="1"/>
          </p:cNvSpPr>
          <p:nvPr>
            <p:ph type="title"/>
          </p:nvPr>
        </p:nvSpPr>
        <p:spPr>
          <a:xfrm>
            <a:off x="1935126" y="396000"/>
            <a:ext cx="9668874" cy="319318"/>
          </a:xfrm>
        </p:spPr>
        <p:txBody>
          <a:bodyPr/>
          <a:lstStyle/>
          <a:p>
            <a:r>
              <a:rPr lang="da-DK" dirty="0"/>
              <a:t>1. Opstart</a:t>
            </a:r>
          </a:p>
        </p:txBody>
      </p:sp>
      <p:sp>
        <p:nvSpPr>
          <p:cNvPr id="4" name="Pladsholder til tekst 3">
            <a:extLst>
              <a:ext uri="{FF2B5EF4-FFF2-40B4-BE49-F238E27FC236}">
                <a16:creationId xmlns:a16="http://schemas.microsoft.com/office/drawing/2014/main" id="{B25B56AA-52F6-4831-B512-5317CCECF74B}"/>
              </a:ext>
            </a:extLst>
          </p:cNvPr>
          <p:cNvSpPr>
            <a:spLocks noGrp="1"/>
          </p:cNvSpPr>
          <p:nvPr>
            <p:ph type="body" sz="quarter" idx="26"/>
          </p:nvPr>
        </p:nvSpPr>
        <p:spPr/>
        <p:txBody>
          <a:bodyPr/>
          <a:lstStyle/>
          <a:p>
            <a:endParaRPr lang="da-DK"/>
          </a:p>
        </p:txBody>
      </p:sp>
      <p:sp>
        <p:nvSpPr>
          <p:cNvPr id="5" name="Pil: pentagon 4">
            <a:extLst>
              <a:ext uri="{FF2B5EF4-FFF2-40B4-BE49-F238E27FC236}">
                <a16:creationId xmlns:a16="http://schemas.microsoft.com/office/drawing/2014/main" id="{95FACEF1-B26B-47ED-BFD1-25E8BACA6F4F}"/>
              </a:ext>
            </a:extLst>
          </p:cNvPr>
          <p:cNvSpPr/>
          <p:nvPr/>
        </p:nvSpPr>
        <p:spPr>
          <a:xfrm rot="5400000">
            <a:off x="-2028648" y="2616650"/>
            <a:ext cx="6200363" cy="967068"/>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grpSp>
        <p:nvGrpSpPr>
          <p:cNvPr id="6" name="Grafik 67">
            <a:extLst>
              <a:ext uri="{FF2B5EF4-FFF2-40B4-BE49-F238E27FC236}">
                <a16:creationId xmlns:a16="http://schemas.microsoft.com/office/drawing/2014/main" id="{48213927-9095-42E2-BBCB-6C6E18E34322}"/>
              </a:ext>
            </a:extLst>
          </p:cNvPr>
          <p:cNvGrpSpPr>
            <a:grpSpLocks noChangeAspect="1"/>
          </p:cNvGrpSpPr>
          <p:nvPr/>
        </p:nvGrpSpPr>
        <p:grpSpPr>
          <a:xfrm>
            <a:off x="948709" y="1750492"/>
            <a:ext cx="269092" cy="360000"/>
            <a:chOff x="758926" y="3404852"/>
            <a:chExt cx="405595" cy="542620"/>
          </a:xfrm>
        </p:grpSpPr>
        <p:sp>
          <p:nvSpPr>
            <p:cNvPr id="7" name="Freeform: Shape 221">
              <a:extLst>
                <a:ext uri="{FF2B5EF4-FFF2-40B4-BE49-F238E27FC236}">
                  <a16:creationId xmlns:a16="http://schemas.microsoft.com/office/drawing/2014/main" id="{3F4735A5-BFC1-491C-9702-39B5738A7FCF}"/>
                </a:ext>
              </a:extLst>
            </p:cNvPr>
            <p:cNvSpPr/>
            <p:nvPr/>
          </p:nvSpPr>
          <p:spPr>
            <a:xfrm>
              <a:off x="758926" y="3404852"/>
              <a:ext cx="405595" cy="542620"/>
            </a:xfrm>
            <a:custGeom>
              <a:avLst/>
              <a:gdLst>
                <a:gd name="connsiteX0" fmla="*/ 0 w 405594"/>
                <a:gd name="connsiteY0" fmla="*/ 0 h 542620"/>
                <a:gd name="connsiteX1" fmla="*/ 0 w 405594"/>
                <a:gd name="connsiteY1" fmla="*/ 543292 h 542620"/>
                <a:gd name="connsiteX2" fmla="*/ 405937 w 405594"/>
                <a:gd name="connsiteY2" fmla="*/ 543292 h 542620"/>
                <a:gd name="connsiteX3" fmla="*/ 405937 w 405594"/>
                <a:gd name="connsiteY3" fmla="*/ 0 h 542620"/>
                <a:gd name="connsiteX4" fmla="*/ 367981 w 405594"/>
                <a:gd name="connsiteY4" fmla="*/ 505349 h 542620"/>
                <a:gd name="connsiteX5" fmla="*/ 38011 w 405594"/>
                <a:gd name="connsiteY5" fmla="*/ 505349 h 542620"/>
                <a:gd name="connsiteX6" fmla="*/ 38011 w 405594"/>
                <a:gd name="connsiteY6" fmla="*/ 38093 h 542620"/>
                <a:gd name="connsiteX7" fmla="*/ 367981 w 405594"/>
                <a:gd name="connsiteY7" fmla="*/ 38093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94" h="542620">
                  <a:moveTo>
                    <a:pt x="0" y="0"/>
                  </a:moveTo>
                  <a:lnTo>
                    <a:pt x="0" y="543292"/>
                  </a:lnTo>
                  <a:lnTo>
                    <a:pt x="405937" y="543292"/>
                  </a:lnTo>
                  <a:lnTo>
                    <a:pt x="405937" y="0"/>
                  </a:lnTo>
                  <a:close/>
                  <a:moveTo>
                    <a:pt x="367981" y="505349"/>
                  </a:moveTo>
                  <a:lnTo>
                    <a:pt x="38011" y="505349"/>
                  </a:lnTo>
                  <a:lnTo>
                    <a:pt x="38011" y="38093"/>
                  </a:lnTo>
                  <a:lnTo>
                    <a:pt x="367981" y="38093"/>
                  </a:lnTo>
                  <a:close/>
                </a:path>
              </a:pathLst>
            </a:custGeom>
            <a:solidFill>
              <a:srgbClr val="3755D7"/>
            </a:solidFill>
            <a:ln w="1363" cap="flat">
              <a:noFill/>
              <a:prstDash val="solid"/>
              <a:miter/>
            </a:ln>
          </p:spPr>
          <p:txBody>
            <a:bodyPr rtlCol="0" anchor="ctr"/>
            <a:lstStyle/>
            <a:p>
              <a:endParaRPr lang="en-GB">
                <a:latin typeface="+mj-lt"/>
              </a:endParaRPr>
            </a:p>
          </p:txBody>
        </p:sp>
        <p:sp>
          <p:nvSpPr>
            <p:cNvPr id="8" name="Freeform: Shape 222">
              <a:extLst>
                <a:ext uri="{FF2B5EF4-FFF2-40B4-BE49-F238E27FC236}">
                  <a16:creationId xmlns:a16="http://schemas.microsoft.com/office/drawing/2014/main" id="{3013A812-F5B9-4F6B-BB38-134046DD86A9}"/>
                </a:ext>
              </a:extLst>
            </p:cNvPr>
            <p:cNvSpPr/>
            <p:nvPr/>
          </p:nvSpPr>
          <p:spPr>
            <a:xfrm>
              <a:off x="843745" y="3502716"/>
              <a:ext cx="119212" cy="36997"/>
            </a:xfrm>
            <a:custGeom>
              <a:avLst/>
              <a:gdLst>
                <a:gd name="connsiteX0" fmla="*/ 0 w 119212"/>
                <a:gd name="connsiteY0" fmla="*/ 0 h 36996"/>
                <a:gd name="connsiteX1" fmla="*/ 119678 w 119212"/>
                <a:gd name="connsiteY1" fmla="*/ 0 h 36996"/>
                <a:gd name="connsiteX2" fmla="*/ 119678 w 119212"/>
                <a:gd name="connsiteY2" fmla="*/ 38011 h 36996"/>
                <a:gd name="connsiteX3" fmla="*/ 0 w 119212"/>
                <a:gd name="connsiteY3" fmla="*/ 38011 h 36996"/>
              </a:gdLst>
              <a:ahLst/>
              <a:cxnLst>
                <a:cxn ang="0">
                  <a:pos x="connsiteX0" y="connsiteY0"/>
                </a:cxn>
                <a:cxn ang="0">
                  <a:pos x="connsiteX1" y="connsiteY1"/>
                </a:cxn>
                <a:cxn ang="0">
                  <a:pos x="connsiteX2" y="connsiteY2"/>
                </a:cxn>
                <a:cxn ang="0">
                  <a:pos x="connsiteX3" y="connsiteY3"/>
                </a:cxn>
              </a:cxnLst>
              <a:rect l="l" t="t" r="r" b="b"/>
              <a:pathLst>
                <a:path w="119212" h="36996">
                  <a:moveTo>
                    <a:pt x="0" y="0"/>
                  </a:moveTo>
                  <a:lnTo>
                    <a:pt x="119678" y="0"/>
                  </a:lnTo>
                  <a:lnTo>
                    <a:pt x="119678"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9" name="Freeform: Shape 223">
              <a:extLst>
                <a:ext uri="{FF2B5EF4-FFF2-40B4-BE49-F238E27FC236}">
                  <a16:creationId xmlns:a16="http://schemas.microsoft.com/office/drawing/2014/main" id="{BA44444E-7728-4FA6-8B76-BE069B1DB1EE}"/>
                </a:ext>
              </a:extLst>
            </p:cNvPr>
            <p:cNvSpPr/>
            <p:nvPr/>
          </p:nvSpPr>
          <p:spPr>
            <a:xfrm>
              <a:off x="843745" y="3813681"/>
              <a:ext cx="119212" cy="36997"/>
            </a:xfrm>
            <a:custGeom>
              <a:avLst/>
              <a:gdLst>
                <a:gd name="connsiteX0" fmla="*/ 0 w 119212"/>
                <a:gd name="connsiteY0" fmla="*/ 0 h 36996"/>
                <a:gd name="connsiteX1" fmla="*/ 119678 w 119212"/>
                <a:gd name="connsiteY1" fmla="*/ 0 h 36996"/>
                <a:gd name="connsiteX2" fmla="*/ 119678 w 119212"/>
                <a:gd name="connsiteY2" fmla="*/ 38011 h 36996"/>
                <a:gd name="connsiteX3" fmla="*/ 0 w 119212"/>
                <a:gd name="connsiteY3" fmla="*/ 38011 h 36996"/>
              </a:gdLst>
              <a:ahLst/>
              <a:cxnLst>
                <a:cxn ang="0">
                  <a:pos x="connsiteX0" y="connsiteY0"/>
                </a:cxn>
                <a:cxn ang="0">
                  <a:pos x="connsiteX1" y="connsiteY1"/>
                </a:cxn>
                <a:cxn ang="0">
                  <a:pos x="connsiteX2" y="connsiteY2"/>
                </a:cxn>
                <a:cxn ang="0">
                  <a:pos x="connsiteX3" y="connsiteY3"/>
                </a:cxn>
              </a:cxnLst>
              <a:rect l="l" t="t" r="r" b="b"/>
              <a:pathLst>
                <a:path w="119212" h="36996">
                  <a:moveTo>
                    <a:pt x="0" y="0"/>
                  </a:moveTo>
                  <a:lnTo>
                    <a:pt x="119678" y="0"/>
                  </a:lnTo>
                  <a:lnTo>
                    <a:pt x="119678"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10" name="Freeform: Shape 224">
              <a:extLst>
                <a:ext uri="{FF2B5EF4-FFF2-40B4-BE49-F238E27FC236}">
                  <a16:creationId xmlns:a16="http://schemas.microsoft.com/office/drawing/2014/main" id="{92D1F0A9-524C-46F1-A173-52EB448156B7}"/>
                </a:ext>
              </a:extLst>
            </p:cNvPr>
            <p:cNvSpPr/>
            <p:nvPr/>
          </p:nvSpPr>
          <p:spPr>
            <a:xfrm>
              <a:off x="843745" y="3579957"/>
              <a:ext cx="232943" cy="36997"/>
            </a:xfrm>
            <a:custGeom>
              <a:avLst/>
              <a:gdLst>
                <a:gd name="connsiteX0" fmla="*/ 0 w 232943"/>
                <a:gd name="connsiteY0" fmla="*/ 0 h 36996"/>
                <a:gd name="connsiteX1" fmla="*/ 233806 w 232943"/>
                <a:gd name="connsiteY1" fmla="*/ 0 h 36996"/>
                <a:gd name="connsiteX2" fmla="*/ 233806 w 232943"/>
                <a:gd name="connsiteY2" fmla="*/ 38011 h 36996"/>
                <a:gd name="connsiteX3" fmla="*/ 0 w 232943"/>
                <a:gd name="connsiteY3" fmla="*/ 38011 h 36996"/>
              </a:gdLst>
              <a:ahLst/>
              <a:cxnLst>
                <a:cxn ang="0">
                  <a:pos x="connsiteX0" y="connsiteY0"/>
                </a:cxn>
                <a:cxn ang="0">
                  <a:pos x="connsiteX1" y="connsiteY1"/>
                </a:cxn>
                <a:cxn ang="0">
                  <a:pos x="connsiteX2" y="connsiteY2"/>
                </a:cxn>
                <a:cxn ang="0">
                  <a:pos x="connsiteX3" y="connsiteY3"/>
                </a:cxn>
              </a:cxnLst>
              <a:rect l="l" t="t" r="r" b="b"/>
              <a:pathLst>
                <a:path w="232943" h="36996">
                  <a:moveTo>
                    <a:pt x="0" y="0"/>
                  </a:moveTo>
                  <a:lnTo>
                    <a:pt x="233806" y="0"/>
                  </a:lnTo>
                  <a:lnTo>
                    <a:pt x="233806"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11" name="Freeform: Shape 225">
              <a:extLst>
                <a:ext uri="{FF2B5EF4-FFF2-40B4-BE49-F238E27FC236}">
                  <a16:creationId xmlns:a16="http://schemas.microsoft.com/office/drawing/2014/main" id="{D3E45CEB-C5B3-483B-8472-7B969F400860}"/>
                </a:ext>
              </a:extLst>
            </p:cNvPr>
            <p:cNvSpPr/>
            <p:nvPr/>
          </p:nvSpPr>
          <p:spPr>
            <a:xfrm>
              <a:off x="843745" y="3657719"/>
              <a:ext cx="232943" cy="36997"/>
            </a:xfrm>
            <a:custGeom>
              <a:avLst/>
              <a:gdLst>
                <a:gd name="connsiteX0" fmla="*/ 0 w 232943"/>
                <a:gd name="connsiteY0" fmla="*/ 0 h 36996"/>
                <a:gd name="connsiteX1" fmla="*/ 233806 w 232943"/>
                <a:gd name="connsiteY1" fmla="*/ 0 h 36996"/>
                <a:gd name="connsiteX2" fmla="*/ 233806 w 232943"/>
                <a:gd name="connsiteY2" fmla="*/ 38011 h 36996"/>
                <a:gd name="connsiteX3" fmla="*/ 0 w 232943"/>
                <a:gd name="connsiteY3" fmla="*/ 38011 h 36996"/>
              </a:gdLst>
              <a:ahLst/>
              <a:cxnLst>
                <a:cxn ang="0">
                  <a:pos x="connsiteX0" y="connsiteY0"/>
                </a:cxn>
                <a:cxn ang="0">
                  <a:pos x="connsiteX1" y="connsiteY1"/>
                </a:cxn>
                <a:cxn ang="0">
                  <a:pos x="connsiteX2" y="connsiteY2"/>
                </a:cxn>
                <a:cxn ang="0">
                  <a:pos x="connsiteX3" y="connsiteY3"/>
                </a:cxn>
              </a:cxnLst>
              <a:rect l="l" t="t" r="r" b="b"/>
              <a:pathLst>
                <a:path w="232943" h="36996">
                  <a:moveTo>
                    <a:pt x="0" y="0"/>
                  </a:moveTo>
                  <a:lnTo>
                    <a:pt x="233806" y="0"/>
                  </a:lnTo>
                  <a:lnTo>
                    <a:pt x="233806"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12" name="Freeform: Shape 226">
              <a:extLst>
                <a:ext uri="{FF2B5EF4-FFF2-40B4-BE49-F238E27FC236}">
                  <a16:creationId xmlns:a16="http://schemas.microsoft.com/office/drawing/2014/main" id="{D417C155-614B-471F-B221-9276A4BC648D}"/>
                </a:ext>
              </a:extLst>
            </p:cNvPr>
            <p:cNvSpPr/>
            <p:nvPr/>
          </p:nvSpPr>
          <p:spPr>
            <a:xfrm>
              <a:off x="843745" y="3734878"/>
              <a:ext cx="232943" cy="36997"/>
            </a:xfrm>
            <a:custGeom>
              <a:avLst/>
              <a:gdLst>
                <a:gd name="connsiteX0" fmla="*/ 0 w 232943"/>
                <a:gd name="connsiteY0" fmla="*/ 0 h 36996"/>
                <a:gd name="connsiteX1" fmla="*/ 233806 w 232943"/>
                <a:gd name="connsiteY1" fmla="*/ 0 h 36996"/>
                <a:gd name="connsiteX2" fmla="*/ 233806 w 232943"/>
                <a:gd name="connsiteY2" fmla="*/ 38011 h 36996"/>
                <a:gd name="connsiteX3" fmla="*/ 0 w 232943"/>
                <a:gd name="connsiteY3" fmla="*/ 38011 h 36996"/>
              </a:gdLst>
              <a:ahLst/>
              <a:cxnLst>
                <a:cxn ang="0">
                  <a:pos x="connsiteX0" y="connsiteY0"/>
                </a:cxn>
                <a:cxn ang="0">
                  <a:pos x="connsiteX1" y="connsiteY1"/>
                </a:cxn>
                <a:cxn ang="0">
                  <a:pos x="connsiteX2" y="connsiteY2"/>
                </a:cxn>
                <a:cxn ang="0">
                  <a:pos x="connsiteX3" y="connsiteY3"/>
                </a:cxn>
              </a:cxnLst>
              <a:rect l="l" t="t" r="r" b="b"/>
              <a:pathLst>
                <a:path w="232943" h="36996">
                  <a:moveTo>
                    <a:pt x="0" y="0"/>
                  </a:moveTo>
                  <a:lnTo>
                    <a:pt x="233806" y="0"/>
                  </a:lnTo>
                  <a:lnTo>
                    <a:pt x="233806"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13" name="Grafik 93">
            <a:extLst>
              <a:ext uri="{FF2B5EF4-FFF2-40B4-BE49-F238E27FC236}">
                <a16:creationId xmlns:a16="http://schemas.microsoft.com/office/drawing/2014/main" id="{C68166B9-1755-48E2-A0B9-83A8107D63AB}"/>
              </a:ext>
            </a:extLst>
          </p:cNvPr>
          <p:cNvSpPr/>
          <p:nvPr/>
        </p:nvSpPr>
        <p:spPr>
          <a:xfrm>
            <a:off x="873560" y="3908986"/>
            <a:ext cx="383398" cy="246708"/>
          </a:xfrm>
          <a:custGeom>
            <a:avLst/>
            <a:gdLst>
              <a:gd name="connsiteX0" fmla="*/ 0 w 506994"/>
              <a:gd name="connsiteY0" fmla="*/ 0 h 349415"/>
              <a:gd name="connsiteX1" fmla="*/ 0 w 506994"/>
              <a:gd name="connsiteY1" fmla="*/ 350100 h 349415"/>
              <a:gd name="connsiteX2" fmla="*/ 507501 w 506994"/>
              <a:gd name="connsiteY2" fmla="*/ 350100 h 349415"/>
              <a:gd name="connsiteX3" fmla="*/ 507501 w 506994"/>
              <a:gd name="connsiteY3" fmla="*/ 0 h 349415"/>
              <a:gd name="connsiteX4" fmla="*/ 424779 w 506994"/>
              <a:gd name="connsiteY4" fmla="*/ 38367 h 349415"/>
              <a:gd name="connsiteX5" fmla="*/ 253716 w 506994"/>
              <a:gd name="connsiteY5" fmla="*/ 151975 h 349415"/>
              <a:gd name="connsiteX6" fmla="*/ 82709 w 506994"/>
              <a:gd name="connsiteY6" fmla="*/ 38367 h 349415"/>
              <a:gd name="connsiteX7" fmla="*/ 38367 w 506994"/>
              <a:gd name="connsiteY7" fmla="*/ 311733 h 349415"/>
              <a:gd name="connsiteX8" fmla="*/ 38367 w 506994"/>
              <a:gd name="connsiteY8" fmla="*/ 54920 h 349415"/>
              <a:gd name="connsiteX9" fmla="*/ 253716 w 506994"/>
              <a:gd name="connsiteY9" fmla="*/ 198043 h 349415"/>
              <a:gd name="connsiteX10" fmla="*/ 469134 w 506994"/>
              <a:gd name="connsiteY10" fmla="*/ 54920 h 349415"/>
              <a:gd name="connsiteX11" fmla="*/ 469134 w 506994"/>
              <a:gd name="connsiteY11" fmla="*/ 311692 h 34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994" h="349415">
                <a:moveTo>
                  <a:pt x="0" y="0"/>
                </a:moveTo>
                <a:lnTo>
                  <a:pt x="0" y="350100"/>
                </a:lnTo>
                <a:lnTo>
                  <a:pt x="507501" y="350100"/>
                </a:lnTo>
                <a:lnTo>
                  <a:pt x="507501" y="0"/>
                </a:lnTo>
                <a:close/>
                <a:moveTo>
                  <a:pt x="424779" y="38367"/>
                </a:moveTo>
                <a:lnTo>
                  <a:pt x="253716" y="151975"/>
                </a:lnTo>
                <a:lnTo>
                  <a:pt x="82709" y="38367"/>
                </a:lnTo>
                <a:close/>
                <a:moveTo>
                  <a:pt x="38367" y="311733"/>
                </a:moveTo>
                <a:lnTo>
                  <a:pt x="38367" y="54920"/>
                </a:lnTo>
                <a:lnTo>
                  <a:pt x="253716" y="198043"/>
                </a:lnTo>
                <a:lnTo>
                  <a:pt x="469134" y="54920"/>
                </a:lnTo>
                <a:lnTo>
                  <a:pt x="469134" y="311692"/>
                </a:lnTo>
                <a:close/>
              </a:path>
            </a:pathLst>
          </a:custGeom>
          <a:solidFill>
            <a:srgbClr val="3755D7"/>
          </a:solidFill>
          <a:ln w="1363" cap="flat">
            <a:noFill/>
            <a:prstDash val="solid"/>
            <a:miter/>
          </a:ln>
        </p:spPr>
        <p:txBody>
          <a:bodyPr rtlCol="0" anchor="ctr"/>
          <a:lstStyle/>
          <a:p>
            <a:endParaRPr lang="en-GB">
              <a:latin typeface="+mj-lt"/>
            </a:endParaRPr>
          </a:p>
        </p:txBody>
      </p:sp>
      <p:sp>
        <p:nvSpPr>
          <p:cNvPr id="15" name="Tekstfelt 14">
            <a:extLst>
              <a:ext uri="{FF2B5EF4-FFF2-40B4-BE49-F238E27FC236}">
                <a16:creationId xmlns:a16="http://schemas.microsoft.com/office/drawing/2014/main" id="{5C6DD4C4-D632-493C-B91F-DE16C45542BA}"/>
              </a:ext>
            </a:extLst>
          </p:cNvPr>
          <p:cNvSpPr txBox="1"/>
          <p:nvPr/>
        </p:nvSpPr>
        <p:spPr bwMode="gray">
          <a:xfrm>
            <a:off x="707615" y="2226665"/>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Aftale</a:t>
            </a:r>
          </a:p>
        </p:txBody>
      </p:sp>
      <p:sp>
        <p:nvSpPr>
          <p:cNvPr id="16" name="Tekstfelt 15">
            <a:extLst>
              <a:ext uri="{FF2B5EF4-FFF2-40B4-BE49-F238E27FC236}">
                <a16:creationId xmlns:a16="http://schemas.microsoft.com/office/drawing/2014/main" id="{108FE63F-730B-4CCE-8BE8-22D8CFBF0F6C}"/>
              </a:ext>
            </a:extLst>
          </p:cNvPr>
          <p:cNvSpPr txBox="1"/>
          <p:nvPr/>
        </p:nvSpPr>
        <p:spPr bwMode="gray">
          <a:xfrm>
            <a:off x="690619" y="4305502"/>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Opstart</a:t>
            </a:r>
          </a:p>
        </p:txBody>
      </p:sp>
      <p:sp>
        <p:nvSpPr>
          <p:cNvPr id="17" name="Pladsholder til indhold 16">
            <a:extLst>
              <a:ext uri="{FF2B5EF4-FFF2-40B4-BE49-F238E27FC236}">
                <a16:creationId xmlns:a16="http://schemas.microsoft.com/office/drawing/2014/main" id="{17C800EE-F8A1-4FA9-9116-66B8493340F6}"/>
              </a:ext>
            </a:extLst>
          </p:cNvPr>
          <p:cNvSpPr txBox="1">
            <a:spLocks noGrp="1"/>
          </p:cNvSpPr>
          <p:nvPr>
            <p:ph idx="1"/>
          </p:nvPr>
        </p:nvSpPr>
        <p:spPr>
          <a:xfrm>
            <a:off x="1845904" y="951429"/>
            <a:ext cx="5953256" cy="3530197"/>
          </a:xfrm>
          <a:prstGeom prst="rect">
            <a:avLst/>
          </a:prstGeom>
          <a:noFill/>
        </p:spPr>
        <p:txBody>
          <a:bodyPr wrap="square" lIns="0" tIns="0" rIns="0" bIns="0" rtlCol="0">
            <a:spAutoFit/>
          </a:bodyPr>
          <a:lstStyle/>
          <a:p>
            <a:pPr marL="0" indent="0" algn="l">
              <a:lnSpc>
                <a:spcPct val="90000"/>
              </a:lnSpc>
              <a:buClr>
                <a:schemeClr val="accent1"/>
              </a:buClr>
              <a:buSzPct val="110000"/>
              <a:buNone/>
            </a:pPr>
            <a:r>
              <a:rPr lang="da-DK" sz="1800" dirty="0">
                <a:solidFill>
                  <a:schemeClr val="accent2"/>
                </a:solidFill>
              </a:rPr>
              <a:t>Efter indgået aftale vil TDC NET aftale besigtigelse med foreningen. </a:t>
            </a:r>
          </a:p>
          <a:p>
            <a:pPr marL="0" indent="0" algn="l">
              <a:lnSpc>
                <a:spcPct val="90000"/>
              </a:lnSpc>
              <a:buClr>
                <a:schemeClr val="accent1"/>
              </a:buClr>
              <a:buSzPct val="110000"/>
              <a:buNone/>
            </a:pPr>
            <a:endParaRPr lang="da-DK" sz="1800" dirty="0"/>
          </a:p>
          <a:p>
            <a:pPr marL="0" indent="0" algn="l">
              <a:lnSpc>
                <a:spcPct val="90000"/>
              </a:lnSpc>
              <a:buClr>
                <a:schemeClr val="accent1"/>
              </a:buClr>
              <a:buSzPct val="110000"/>
              <a:buNone/>
            </a:pPr>
            <a:r>
              <a:rPr lang="da-DK" sz="1800" dirty="0">
                <a:solidFill>
                  <a:schemeClr val="accent2"/>
                </a:solidFill>
              </a:rPr>
              <a:t>TDC NET forventer at starte op i området omkring august 2024 og forventer at være færdige </a:t>
            </a:r>
            <a:r>
              <a:rPr lang="da-DK" sz="1800">
                <a:solidFill>
                  <a:schemeClr val="accent2"/>
                </a:solidFill>
              </a:rPr>
              <a:t>omkring december 2024. </a:t>
            </a:r>
            <a:endParaRPr lang="da-DK" sz="1800" dirty="0">
              <a:solidFill>
                <a:schemeClr val="accent2"/>
              </a:solidFill>
            </a:endParaRPr>
          </a:p>
          <a:p>
            <a:pPr marL="0" indent="0" algn="l">
              <a:lnSpc>
                <a:spcPct val="90000"/>
              </a:lnSpc>
              <a:buClr>
                <a:schemeClr val="accent1"/>
              </a:buClr>
              <a:buSzPct val="110000"/>
              <a:buNone/>
            </a:pPr>
            <a:endParaRPr lang="da-DK" sz="1800" dirty="0"/>
          </a:p>
          <a:p>
            <a:pPr marL="0" indent="0" algn="l">
              <a:lnSpc>
                <a:spcPct val="90000"/>
              </a:lnSpc>
              <a:buClr>
                <a:schemeClr val="accent1"/>
              </a:buClr>
              <a:buSzPct val="110000"/>
              <a:buNone/>
            </a:pPr>
            <a:r>
              <a:rPr lang="da-DK" sz="1800" dirty="0">
                <a:solidFill>
                  <a:schemeClr val="accent2"/>
                </a:solidFill>
              </a:rPr>
              <a:t>Nærmere tidsplan </a:t>
            </a:r>
            <a:r>
              <a:rPr lang="da-DK" sz="1800" dirty="0"/>
              <a:t>aftales med foreningen når vi nærmer os opstart. </a:t>
            </a:r>
            <a:endParaRPr lang="da-DK" sz="1800" dirty="0">
              <a:solidFill>
                <a:schemeClr val="accent2"/>
              </a:solidFill>
            </a:endParaRPr>
          </a:p>
          <a:p>
            <a:pPr marL="0" indent="0" algn="l">
              <a:lnSpc>
                <a:spcPct val="90000"/>
              </a:lnSpc>
              <a:buClr>
                <a:schemeClr val="accent1"/>
              </a:buClr>
              <a:buSzPct val="110000"/>
              <a:buNone/>
            </a:pPr>
            <a:endParaRPr lang="da-DK" sz="1800" dirty="0"/>
          </a:p>
          <a:p>
            <a:pPr marL="0" indent="0" algn="l">
              <a:lnSpc>
                <a:spcPct val="90000"/>
              </a:lnSpc>
              <a:buClr>
                <a:schemeClr val="accent1"/>
              </a:buClr>
              <a:buSzPct val="110000"/>
              <a:buNone/>
            </a:pPr>
            <a:endParaRPr lang="da-DK" sz="1800" dirty="0">
              <a:solidFill>
                <a:schemeClr val="accent2"/>
              </a:solidFill>
            </a:endParaRPr>
          </a:p>
          <a:p>
            <a:pPr marL="0" indent="0" algn="l">
              <a:lnSpc>
                <a:spcPct val="90000"/>
              </a:lnSpc>
              <a:buClr>
                <a:schemeClr val="accent1"/>
              </a:buClr>
              <a:buSzPct val="110000"/>
              <a:buNone/>
            </a:pPr>
            <a:endParaRPr lang="da-DK" sz="1800" dirty="0"/>
          </a:p>
        </p:txBody>
      </p:sp>
      <p:pic>
        <p:nvPicPr>
          <p:cNvPr id="19" name="Pladsholder til indhold 7" descr="Et billede, der indeholder udendørs, græs, skilt, sidder&#10;&#10;Automatisk genereret beskrivelse">
            <a:extLst>
              <a:ext uri="{FF2B5EF4-FFF2-40B4-BE49-F238E27FC236}">
                <a16:creationId xmlns:a16="http://schemas.microsoft.com/office/drawing/2014/main" id="{EC8E6E64-3DF9-4B53-BA5B-2BB57A1B3A31}"/>
              </a:ext>
            </a:extLst>
          </p:cNvPr>
          <p:cNvPicPr>
            <a:picLocks noChangeAspect="1"/>
          </p:cNvPicPr>
          <p:nvPr/>
        </p:nvPicPr>
        <p:blipFill rotWithShape="1">
          <a:blip r:embed="rId2">
            <a:extLst>
              <a:ext uri="{28A0092B-C50C-407E-A947-70E740481C1C}">
                <a14:useLocalDpi xmlns:a14="http://schemas.microsoft.com/office/drawing/2010/main" val="0"/>
              </a:ext>
            </a:extLst>
          </a:blip>
          <a:srcRect l="7657" t="26174" r="57016" b="15868"/>
          <a:stretch/>
        </p:blipFill>
        <p:spPr>
          <a:xfrm>
            <a:off x="7921245" y="951430"/>
            <a:ext cx="3563140" cy="3897018"/>
          </a:xfrm>
          <a:prstGeom prst="rect">
            <a:avLst/>
          </a:prstGeom>
        </p:spPr>
      </p:pic>
      <p:sp>
        <p:nvSpPr>
          <p:cNvPr id="32" name="Rektangel 31">
            <a:extLst>
              <a:ext uri="{FF2B5EF4-FFF2-40B4-BE49-F238E27FC236}">
                <a16:creationId xmlns:a16="http://schemas.microsoft.com/office/drawing/2014/main" id="{D9D94228-A405-4422-8F2E-8C5E98C7086F}"/>
              </a:ext>
            </a:extLst>
          </p:cNvPr>
          <p:cNvSpPr/>
          <p:nvPr/>
        </p:nvSpPr>
        <p:spPr>
          <a:xfrm>
            <a:off x="7897334" y="4894663"/>
            <a:ext cx="3587052" cy="1020725"/>
          </a:xfrm>
          <a:prstGeom prst="rect">
            <a:avLst/>
          </a:prstGeom>
          <a:solidFill>
            <a:schemeClr val="accent4"/>
          </a:solidFill>
          <a:ln>
            <a:solidFill>
              <a:schemeClr val="tx1"/>
            </a:solid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nSpc>
                <a:spcPct val="90000"/>
              </a:lnSpc>
            </a:pPr>
            <a:r>
              <a:rPr lang="da-DK" sz="1400" dirty="0">
                <a:solidFill>
                  <a:schemeClr val="accent2"/>
                </a:solidFill>
              </a:rPr>
              <a:t>Foreningens </a:t>
            </a:r>
            <a:r>
              <a:rPr lang="da-DK" sz="1400" b="1" dirty="0">
                <a:solidFill>
                  <a:schemeClr val="accent2"/>
                </a:solidFill>
              </a:rPr>
              <a:t>tekniske kontaktperson </a:t>
            </a:r>
            <a:r>
              <a:rPr lang="da-DK" sz="1400" dirty="0">
                <a:solidFill>
                  <a:schemeClr val="accent2"/>
                </a:solidFill>
              </a:rPr>
              <a:t>skal have viden om bygning, kabler i fællesarealer og andre aspekter som TDC NET skal være opmærksomme på</a:t>
            </a:r>
            <a:endParaRPr lang="da-DK" sz="1400" noProof="0" dirty="0" err="1">
              <a:solidFill>
                <a:schemeClr val="accent2"/>
              </a:solidFill>
            </a:endParaRPr>
          </a:p>
        </p:txBody>
      </p:sp>
      <p:cxnSp>
        <p:nvCxnSpPr>
          <p:cNvPr id="3" name="Lige pilforbindelse 2">
            <a:extLst>
              <a:ext uri="{FF2B5EF4-FFF2-40B4-BE49-F238E27FC236}">
                <a16:creationId xmlns:a16="http://schemas.microsoft.com/office/drawing/2014/main" id="{C970793A-2840-1FBF-E6FE-BD98CDCE2881}"/>
              </a:ext>
            </a:extLst>
          </p:cNvPr>
          <p:cNvCxnSpPr>
            <a:cxnSpLocks/>
          </p:cNvCxnSpPr>
          <p:nvPr/>
        </p:nvCxnSpPr>
        <p:spPr>
          <a:xfrm>
            <a:off x="4945029" y="1446618"/>
            <a:ext cx="2837136" cy="3341510"/>
          </a:xfrm>
          <a:prstGeom prst="straightConnector1">
            <a:avLst/>
          </a:prstGeom>
          <a:ln w="6350">
            <a:solidFill>
              <a:srgbClr val="73A0E1">
                <a:alpha val="89804"/>
              </a:srgb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6557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9FAFC2-6193-4542-BD0A-B70232FDA1B2}"/>
              </a:ext>
            </a:extLst>
          </p:cNvPr>
          <p:cNvSpPr>
            <a:spLocks noGrp="1"/>
          </p:cNvSpPr>
          <p:nvPr>
            <p:ph type="title"/>
          </p:nvPr>
        </p:nvSpPr>
        <p:spPr>
          <a:xfrm>
            <a:off x="1855364" y="525556"/>
            <a:ext cx="9668874" cy="319318"/>
          </a:xfrm>
        </p:spPr>
        <p:txBody>
          <a:bodyPr/>
          <a:lstStyle/>
          <a:p>
            <a:r>
              <a:rPr lang="da-DK" dirty="0"/>
              <a:t>2. Gravning, Etablering og reetablering</a:t>
            </a:r>
          </a:p>
        </p:txBody>
      </p:sp>
      <p:sp>
        <p:nvSpPr>
          <p:cNvPr id="4" name="Pladsholder til tekst 3">
            <a:extLst>
              <a:ext uri="{FF2B5EF4-FFF2-40B4-BE49-F238E27FC236}">
                <a16:creationId xmlns:a16="http://schemas.microsoft.com/office/drawing/2014/main" id="{B25B56AA-52F6-4831-B512-5317CCECF74B}"/>
              </a:ext>
            </a:extLst>
          </p:cNvPr>
          <p:cNvSpPr>
            <a:spLocks noGrp="1"/>
          </p:cNvSpPr>
          <p:nvPr>
            <p:ph type="body" sz="quarter" idx="26"/>
          </p:nvPr>
        </p:nvSpPr>
        <p:spPr/>
        <p:txBody>
          <a:bodyPr/>
          <a:lstStyle/>
          <a:p>
            <a:endParaRPr lang="da-DK"/>
          </a:p>
        </p:txBody>
      </p:sp>
      <p:sp>
        <p:nvSpPr>
          <p:cNvPr id="5" name="Pil: pentagon 4">
            <a:extLst>
              <a:ext uri="{FF2B5EF4-FFF2-40B4-BE49-F238E27FC236}">
                <a16:creationId xmlns:a16="http://schemas.microsoft.com/office/drawing/2014/main" id="{95FACEF1-B26B-47ED-BFD1-25E8BACA6F4F}"/>
              </a:ext>
            </a:extLst>
          </p:cNvPr>
          <p:cNvSpPr/>
          <p:nvPr/>
        </p:nvSpPr>
        <p:spPr>
          <a:xfrm rot="5400000">
            <a:off x="-2028648" y="2616650"/>
            <a:ext cx="6200363" cy="967068"/>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sp>
        <p:nvSpPr>
          <p:cNvPr id="15" name="Tekstfelt 14">
            <a:extLst>
              <a:ext uri="{FF2B5EF4-FFF2-40B4-BE49-F238E27FC236}">
                <a16:creationId xmlns:a16="http://schemas.microsoft.com/office/drawing/2014/main" id="{5C6DD4C4-D632-493C-B91F-DE16C45542BA}"/>
              </a:ext>
            </a:extLst>
          </p:cNvPr>
          <p:cNvSpPr txBox="1"/>
          <p:nvPr/>
        </p:nvSpPr>
        <p:spPr bwMode="gray">
          <a:xfrm>
            <a:off x="695894" y="2173956"/>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Besigtigelse</a:t>
            </a:r>
          </a:p>
        </p:txBody>
      </p:sp>
      <p:sp>
        <p:nvSpPr>
          <p:cNvPr id="16" name="Tekstfelt 15">
            <a:extLst>
              <a:ext uri="{FF2B5EF4-FFF2-40B4-BE49-F238E27FC236}">
                <a16:creationId xmlns:a16="http://schemas.microsoft.com/office/drawing/2014/main" id="{108FE63F-730B-4CCE-8BE8-22D8CFBF0F6C}"/>
              </a:ext>
            </a:extLst>
          </p:cNvPr>
          <p:cNvSpPr txBox="1"/>
          <p:nvPr/>
        </p:nvSpPr>
        <p:spPr bwMode="gray">
          <a:xfrm>
            <a:off x="667184" y="4379339"/>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Grav område</a:t>
            </a:r>
          </a:p>
        </p:txBody>
      </p:sp>
      <p:sp>
        <p:nvSpPr>
          <p:cNvPr id="20" name="Grafik 83">
            <a:extLst>
              <a:ext uri="{FF2B5EF4-FFF2-40B4-BE49-F238E27FC236}">
                <a16:creationId xmlns:a16="http://schemas.microsoft.com/office/drawing/2014/main" id="{57EECF6E-5CBC-4D71-86D4-206D6CCD06FD}"/>
              </a:ext>
            </a:extLst>
          </p:cNvPr>
          <p:cNvSpPr/>
          <p:nvPr/>
        </p:nvSpPr>
        <p:spPr>
          <a:xfrm>
            <a:off x="915564" y="1711236"/>
            <a:ext cx="309940" cy="372754"/>
          </a:xfrm>
          <a:custGeom>
            <a:avLst/>
            <a:gdLst>
              <a:gd name="connsiteX0" fmla="*/ 543786 w 542620"/>
              <a:gd name="connsiteY0" fmla="*/ 621465 h 620725"/>
              <a:gd name="connsiteX1" fmla="*/ 330163 w 542620"/>
              <a:gd name="connsiteY1" fmla="*/ 621465 h 620725"/>
              <a:gd name="connsiteX2" fmla="*/ 330163 w 542620"/>
              <a:gd name="connsiteY2" fmla="*/ 388412 h 620725"/>
              <a:gd name="connsiteX3" fmla="*/ 213691 w 542620"/>
              <a:gd name="connsiteY3" fmla="*/ 388412 h 620725"/>
              <a:gd name="connsiteX4" fmla="*/ 213691 w 542620"/>
              <a:gd name="connsiteY4" fmla="*/ 621465 h 620725"/>
              <a:gd name="connsiteX5" fmla="*/ 0 w 542620"/>
              <a:gd name="connsiteY5" fmla="*/ 621465 h 620725"/>
              <a:gd name="connsiteX6" fmla="*/ 0 w 542620"/>
              <a:gd name="connsiteY6" fmla="*/ 233053 h 620725"/>
              <a:gd name="connsiteX7" fmla="*/ 271900 w 542620"/>
              <a:gd name="connsiteY7" fmla="*/ 0 h 620725"/>
              <a:gd name="connsiteX8" fmla="*/ 543786 w 542620"/>
              <a:gd name="connsiteY8" fmla="*/ 233053 h 620725"/>
              <a:gd name="connsiteX9" fmla="*/ 369023 w 542620"/>
              <a:gd name="connsiteY9" fmla="*/ 582632 h 620725"/>
              <a:gd name="connsiteX10" fmla="*/ 504953 w 542620"/>
              <a:gd name="connsiteY10" fmla="*/ 582632 h 620725"/>
              <a:gd name="connsiteX11" fmla="*/ 504953 w 542620"/>
              <a:gd name="connsiteY11" fmla="*/ 250907 h 620725"/>
              <a:gd name="connsiteX12" fmla="*/ 271900 w 542620"/>
              <a:gd name="connsiteY12" fmla="*/ 51152 h 620725"/>
              <a:gd name="connsiteX13" fmla="*/ 38792 w 542620"/>
              <a:gd name="connsiteY13" fmla="*/ 250921 h 620725"/>
              <a:gd name="connsiteX14" fmla="*/ 38792 w 542620"/>
              <a:gd name="connsiteY14" fmla="*/ 582632 h 620725"/>
              <a:gd name="connsiteX15" fmla="*/ 174735 w 542620"/>
              <a:gd name="connsiteY15" fmla="*/ 582632 h 620725"/>
              <a:gd name="connsiteX16" fmla="*/ 174735 w 542620"/>
              <a:gd name="connsiteY16" fmla="*/ 349579 h 620725"/>
              <a:gd name="connsiteX17" fmla="*/ 369023 w 542620"/>
              <a:gd name="connsiteY17" fmla="*/ 349579 h 62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2620" h="620725">
                <a:moveTo>
                  <a:pt x="543786" y="621465"/>
                </a:moveTo>
                <a:lnTo>
                  <a:pt x="330163" y="621465"/>
                </a:lnTo>
                <a:lnTo>
                  <a:pt x="330163" y="388412"/>
                </a:lnTo>
                <a:lnTo>
                  <a:pt x="213691" y="388412"/>
                </a:lnTo>
                <a:lnTo>
                  <a:pt x="213691" y="621465"/>
                </a:lnTo>
                <a:lnTo>
                  <a:pt x="0" y="621465"/>
                </a:lnTo>
                <a:lnTo>
                  <a:pt x="0" y="233053"/>
                </a:lnTo>
                <a:lnTo>
                  <a:pt x="271900" y="0"/>
                </a:lnTo>
                <a:lnTo>
                  <a:pt x="543786" y="233053"/>
                </a:lnTo>
                <a:close/>
                <a:moveTo>
                  <a:pt x="369023" y="582632"/>
                </a:moveTo>
                <a:lnTo>
                  <a:pt x="504953" y="582632"/>
                </a:lnTo>
                <a:lnTo>
                  <a:pt x="504953" y="250907"/>
                </a:lnTo>
                <a:lnTo>
                  <a:pt x="271900" y="51152"/>
                </a:lnTo>
                <a:lnTo>
                  <a:pt x="38792" y="250921"/>
                </a:lnTo>
                <a:lnTo>
                  <a:pt x="38792" y="582632"/>
                </a:lnTo>
                <a:lnTo>
                  <a:pt x="174735" y="582632"/>
                </a:lnTo>
                <a:lnTo>
                  <a:pt x="174735" y="349579"/>
                </a:lnTo>
                <a:lnTo>
                  <a:pt x="369023" y="349579"/>
                </a:lnTo>
                <a:close/>
              </a:path>
            </a:pathLst>
          </a:custGeom>
          <a:solidFill>
            <a:srgbClr val="3755D7"/>
          </a:solidFill>
          <a:ln w="1363" cap="flat">
            <a:noFill/>
            <a:prstDash val="solid"/>
            <a:miter/>
          </a:ln>
        </p:spPr>
        <p:txBody>
          <a:bodyPr rtlCol="0" anchor="ctr"/>
          <a:lstStyle/>
          <a:p>
            <a:endParaRPr lang="en-GB">
              <a:latin typeface="+mj-lt"/>
            </a:endParaRPr>
          </a:p>
        </p:txBody>
      </p:sp>
      <p:grpSp>
        <p:nvGrpSpPr>
          <p:cNvPr id="21" name="Grafik 75">
            <a:extLst>
              <a:ext uri="{FF2B5EF4-FFF2-40B4-BE49-F238E27FC236}">
                <a16:creationId xmlns:a16="http://schemas.microsoft.com/office/drawing/2014/main" id="{044B08C3-C6C0-455D-97A5-0F72B1AABDA7}"/>
              </a:ext>
            </a:extLst>
          </p:cNvPr>
          <p:cNvGrpSpPr/>
          <p:nvPr/>
        </p:nvGrpSpPr>
        <p:grpSpPr>
          <a:xfrm>
            <a:off x="858144" y="3942826"/>
            <a:ext cx="367360" cy="315118"/>
            <a:chOff x="3313357" y="2567933"/>
            <a:chExt cx="499339" cy="428329"/>
          </a:xfrm>
        </p:grpSpPr>
        <p:sp>
          <p:nvSpPr>
            <p:cNvPr id="22" name="Freeform: Shape 235">
              <a:extLst>
                <a:ext uri="{FF2B5EF4-FFF2-40B4-BE49-F238E27FC236}">
                  <a16:creationId xmlns:a16="http://schemas.microsoft.com/office/drawing/2014/main" id="{6B0C0C57-2E3C-4EF7-94CB-FB848E2EFBCB}"/>
                </a:ext>
              </a:extLst>
            </p:cNvPr>
            <p:cNvSpPr/>
            <p:nvPr/>
          </p:nvSpPr>
          <p:spPr>
            <a:xfrm>
              <a:off x="3337434" y="2567933"/>
              <a:ext cx="475262" cy="320715"/>
            </a:xfrm>
            <a:custGeom>
              <a:avLst/>
              <a:gdLst>
                <a:gd name="connsiteX0" fmla="*/ 321424 w 475262"/>
                <a:gd name="connsiteY0" fmla="*/ 174546 h 320714"/>
                <a:gd name="connsiteX1" fmla="*/ 396187 w 475262"/>
                <a:gd name="connsiteY1" fmla="*/ 35337 h 320714"/>
                <a:gd name="connsiteX2" fmla="*/ 439612 w 475262"/>
                <a:gd name="connsiteY2" fmla="*/ 35337 h 320714"/>
                <a:gd name="connsiteX3" fmla="*/ 439612 w 475262"/>
                <a:gd name="connsiteY3" fmla="*/ 185236 h 320714"/>
                <a:gd name="connsiteX4" fmla="*/ 360397 w 475262"/>
                <a:gd name="connsiteY4" fmla="*/ 209057 h 320714"/>
                <a:gd name="connsiteX5" fmla="*/ 361803 w 475262"/>
                <a:gd name="connsiteY5" fmla="*/ 271864 h 320714"/>
                <a:gd name="connsiteX6" fmla="*/ 411688 w 475262"/>
                <a:gd name="connsiteY6" fmla="*/ 321528 h 320714"/>
                <a:gd name="connsiteX7" fmla="*/ 411805 w 475262"/>
                <a:gd name="connsiteY7" fmla="*/ 321528 h 320714"/>
                <a:gd name="connsiteX8" fmla="*/ 475878 w 475262"/>
                <a:gd name="connsiteY8" fmla="*/ 320715 h 320714"/>
                <a:gd name="connsiteX9" fmla="*/ 474913 w 475262"/>
                <a:gd name="connsiteY9" fmla="*/ 0 h 320714"/>
                <a:gd name="connsiteX10" fmla="*/ 375062 w 475262"/>
                <a:gd name="connsiteY10" fmla="*/ 0 h 320714"/>
                <a:gd name="connsiteX11" fmla="*/ 319123 w 475262"/>
                <a:gd name="connsiteY11" fmla="*/ 104209 h 320714"/>
                <a:gd name="connsiteX12" fmla="*/ 250192 w 475262"/>
                <a:gd name="connsiteY12" fmla="*/ 46399 h 320714"/>
                <a:gd name="connsiteX13" fmla="*/ 161043 w 475262"/>
                <a:gd name="connsiteY13" fmla="*/ 47561 h 320714"/>
                <a:gd name="connsiteX14" fmla="*/ 161043 w 475262"/>
                <a:gd name="connsiteY14" fmla="*/ 189663 h 320714"/>
                <a:gd name="connsiteX15" fmla="*/ 49618 w 475262"/>
                <a:gd name="connsiteY15" fmla="*/ 190151 h 320714"/>
                <a:gd name="connsiteX16" fmla="*/ 0 w 475262"/>
                <a:gd name="connsiteY16" fmla="*/ 239769 h 320714"/>
                <a:gd name="connsiteX17" fmla="*/ 848 w 475262"/>
                <a:gd name="connsiteY17" fmla="*/ 296022 h 320714"/>
                <a:gd name="connsiteX18" fmla="*/ 321865 w 475262"/>
                <a:gd name="connsiteY18" fmla="*/ 296022 h 320714"/>
                <a:gd name="connsiteX19" fmla="*/ 286552 w 475262"/>
                <a:gd name="connsiteY19" fmla="*/ 260697 h 320714"/>
                <a:gd name="connsiteX20" fmla="*/ 35627 w 475262"/>
                <a:gd name="connsiteY20" fmla="*/ 260697 h 320714"/>
                <a:gd name="connsiteX21" fmla="*/ 35313 w 475262"/>
                <a:gd name="connsiteY21" fmla="*/ 239653 h 320714"/>
                <a:gd name="connsiteX22" fmla="*/ 49688 w 475262"/>
                <a:gd name="connsiteY22" fmla="*/ 225465 h 320714"/>
                <a:gd name="connsiteX23" fmla="*/ 286552 w 475262"/>
                <a:gd name="connsiteY23" fmla="*/ 224431 h 320714"/>
                <a:gd name="connsiteX24" fmla="*/ 196356 w 475262"/>
                <a:gd name="connsiteY24" fmla="*/ 82410 h 320714"/>
                <a:gd name="connsiteX25" fmla="*/ 250309 w 475262"/>
                <a:gd name="connsiteY25" fmla="*/ 81678 h 320714"/>
                <a:gd name="connsiteX26" fmla="*/ 284867 w 475262"/>
                <a:gd name="connsiteY26" fmla="*/ 116375 h 320714"/>
                <a:gd name="connsiteX27" fmla="*/ 286308 w 475262"/>
                <a:gd name="connsiteY27" fmla="*/ 185387 h 320714"/>
                <a:gd name="connsiteX28" fmla="*/ 196356 w 475262"/>
                <a:gd name="connsiteY28" fmla="*/ 185387 h 320714"/>
                <a:gd name="connsiteX29" fmla="*/ 411607 w 475262"/>
                <a:gd name="connsiteY29" fmla="*/ 286215 h 320714"/>
                <a:gd name="connsiteX30" fmla="*/ 397128 w 475262"/>
                <a:gd name="connsiteY30" fmla="*/ 271643 h 320714"/>
                <a:gd name="connsiteX31" fmla="*/ 396315 w 475262"/>
                <a:gd name="connsiteY31" fmla="*/ 235121 h 320714"/>
                <a:gd name="connsiteX32" fmla="*/ 439612 w 475262"/>
                <a:gd name="connsiteY32" fmla="*/ 222095 h 320714"/>
                <a:gd name="connsiteX33" fmla="*/ 439612 w 475262"/>
                <a:gd name="connsiteY33" fmla="*/ 241442 h 320714"/>
                <a:gd name="connsiteX34" fmla="*/ 440576 w 475262"/>
                <a:gd name="connsiteY34" fmla="*/ 241442 h 320714"/>
                <a:gd name="connsiteX35" fmla="*/ 440576 w 475262"/>
                <a:gd name="connsiteY35" fmla="*/ 285843 h 32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5262" h="320714">
                  <a:moveTo>
                    <a:pt x="321424" y="174546"/>
                  </a:moveTo>
                  <a:lnTo>
                    <a:pt x="396187" y="35337"/>
                  </a:lnTo>
                  <a:lnTo>
                    <a:pt x="439612" y="35337"/>
                  </a:lnTo>
                  <a:lnTo>
                    <a:pt x="439612" y="185236"/>
                  </a:lnTo>
                  <a:lnTo>
                    <a:pt x="360397" y="209057"/>
                  </a:lnTo>
                  <a:lnTo>
                    <a:pt x="361803" y="271864"/>
                  </a:lnTo>
                  <a:cubicBezTo>
                    <a:pt x="361970" y="299309"/>
                    <a:pt x="384242" y="321484"/>
                    <a:pt x="411688" y="321528"/>
                  </a:cubicBezTo>
                  <a:lnTo>
                    <a:pt x="411805" y="321528"/>
                  </a:lnTo>
                  <a:lnTo>
                    <a:pt x="475878" y="320715"/>
                  </a:lnTo>
                  <a:lnTo>
                    <a:pt x="474913" y="0"/>
                  </a:lnTo>
                  <a:lnTo>
                    <a:pt x="375062" y="0"/>
                  </a:lnTo>
                  <a:lnTo>
                    <a:pt x="319123" y="104209"/>
                  </a:lnTo>
                  <a:cubicBezTo>
                    <a:pt x="313162" y="70798"/>
                    <a:pt x="284131" y="46450"/>
                    <a:pt x="250192" y="46399"/>
                  </a:cubicBezTo>
                  <a:lnTo>
                    <a:pt x="161043" y="47561"/>
                  </a:lnTo>
                  <a:lnTo>
                    <a:pt x="161043" y="189663"/>
                  </a:lnTo>
                  <a:lnTo>
                    <a:pt x="49618" y="190151"/>
                  </a:lnTo>
                  <a:cubicBezTo>
                    <a:pt x="22225" y="190177"/>
                    <a:pt x="26" y="212377"/>
                    <a:pt x="0" y="239769"/>
                  </a:cubicBezTo>
                  <a:lnTo>
                    <a:pt x="848" y="296022"/>
                  </a:lnTo>
                  <a:lnTo>
                    <a:pt x="321865" y="296022"/>
                  </a:lnTo>
                  <a:moveTo>
                    <a:pt x="286552" y="260697"/>
                  </a:moveTo>
                  <a:lnTo>
                    <a:pt x="35627" y="260697"/>
                  </a:lnTo>
                  <a:lnTo>
                    <a:pt x="35313" y="239653"/>
                  </a:lnTo>
                  <a:cubicBezTo>
                    <a:pt x="35390" y="231777"/>
                    <a:pt x="41811" y="225439"/>
                    <a:pt x="49688" y="225465"/>
                  </a:cubicBezTo>
                  <a:lnTo>
                    <a:pt x="286552" y="224431"/>
                  </a:lnTo>
                  <a:close/>
                  <a:moveTo>
                    <a:pt x="196356" y="82410"/>
                  </a:moveTo>
                  <a:lnTo>
                    <a:pt x="250309" y="81678"/>
                  </a:lnTo>
                  <a:cubicBezTo>
                    <a:pt x="269410" y="81773"/>
                    <a:pt x="284848" y="97274"/>
                    <a:pt x="284867" y="116375"/>
                  </a:cubicBezTo>
                  <a:lnTo>
                    <a:pt x="286308" y="185387"/>
                  </a:lnTo>
                  <a:lnTo>
                    <a:pt x="196356" y="185387"/>
                  </a:lnTo>
                  <a:close/>
                  <a:moveTo>
                    <a:pt x="411607" y="286215"/>
                  </a:moveTo>
                  <a:cubicBezTo>
                    <a:pt x="403601" y="286151"/>
                    <a:pt x="397141" y="279649"/>
                    <a:pt x="397128" y="271643"/>
                  </a:cubicBezTo>
                  <a:lnTo>
                    <a:pt x="396315" y="235121"/>
                  </a:lnTo>
                  <a:lnTo>
                    <a:pt x="439612" y="222095"/>
                  </a:lnTo>
                  <a:lnTo>
                    <a:pt x="439612" y="241442"/>
                  </a:lnTo>
                  <a:lnTo>
                    <a:pt x="440576" y="241442"/>
                  </a:lnTo>
                  <a:lnTo>
                    <a:pt x="440576" y="285843"/>
                  </a:lnTo>
                  <a:close/>
                </a:path>
              </a:pathLst>
            </a:custGeom>
            <a:solidFill>
              <a:srgbClr val="3755D7"/>
            </a:solidFill>
            <a:ln w="1158" cap="flat">
              <a:noFill/>
              <a:prstDash val="solid"/>
              <a:miter/>
            </a:ln>
          </p:spPr>
          <p:txBody>
            <a:bodyPr rtlCol="0" anchor="ctr"/>
            <a:lstStyle/>
            <a:p>
              <a:endParaRPr lang="en-GB">
                <a:latin typeface="+mj-lt"/>
              </a:endParaRPr>
            </a:p>
          </p:txBody>
        </p:sp>
        <p:sp>
          <p:nvSpPr>
            <p:cNvPr id="23" name="Freeform: Shape 236">
              <a:extLst>
                <a:ext uri="{FF2B5EF4-FFF2-40B4-BE49-F238E27FC236}">
                  <a16:creationId xmlns:a16="http://schemas.microsoft.com/office/drawing/2014/main" id="{6A601729-64F1-4156-8F00-B4B00885F44C}"/>
                </a:ext>
              </a:extLst>
            </p:cNvPr>
            <p:cNvSpPr/>
            <p:nvPr/>
          </p:nvSpPr>
          <p:spPr>
            <a:xfrm>
              <a:off x="3313357" y="2877737"/>
              <a:ext cx="369519" cy="118525"/>
            </a:xfrm>
            <a:custGeom>
              <a:avLst/>
              <a:gdLst>
                <a:gd name="connsiteX0" fmla="*/ 310106 w 369519"/>
                <a:gd name="connsiteY0" fmla="*/ 0 h 118525"/>
                <a:gd name="connsiteX1" fmla="*/ 59611 w 369519"/>
                <a:gd name="connsiteY1" fmla="*/ 0 h 118525"/>
                <a:gd name="connsiteX2" fmla="*/ 0 w 369519"/>
                <a:gd name="connsiteY2" fmla="*/ 59611 h 118525"/>
                <a:gd name="connsiteX3" fmla="*/ 59611 w 369519"/>
                <a:gd name="connsiteY3" fmla="*/ 119222 h 118525"/>
                <a:gd name="connsiteX4" fmla="*/ 310106 w 369519"/>
                <a:gd name="connsiteY4" fmla="*/ 119222 h 118525"/>
                <a:gd name="connsiteX5" fmla="*/ 369717 w 369519"/>
                <a:gd name="connsiteY5" fmla="*/ 59611 h 118525"/>
                <a:gd name="connsiteX6" fmla="*/ 310106 w 369519"/>
                <a:gd name="connsiteY6" fmla="*/ 0 h 118525"/>
                <a:gd name="connsiteX7" fmla="*/ 310106 w 369519"/>
                <a:gd name="connsiteY7" fmla="*/ 83909 h 118525"/>
                <a:gd name="connsiteX8" fmla="*/ 59611 w 369519"/>
                <a:gd name="connsiteY8" fmla="*/ 83909 h 118525"/>
                <a:gd name="connsiteX9" fmla="*/ 35313 w 369519"/>
                <a:gd name="connsiteY9" fmla="*/ 59611 h 118525"/>
                <a:gd name="connsiteX10" fmla="*/ 59611 w 369519"/>
                <a:gd name="connsiteY10" fmla="*/ 35313 h 118525"/>
                <a:gd name="connsiteX11" fmla="*/ 310106 w 369519"/>
                <a:gd name="connsiteY11" fmla="*/ 35313 h 118525"/>
                <a:gd name="connsiteX12" fmla="*/ 334403 w 369519"/>
                <a:gd name="connsiteY12" fmla="*/ 59611 h 118525"/>
                <a:gd name="connsiteX13" fmla="*/ 310106 w 369519"/>
                <a:gd name="connsiteY13" fmla="*/ 83909 h 11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519" h="118525">
                  <a:moveTo>
                    <a:pt x="310106" y="0"/>
                  </a:moveTo>
                  <a:lnTo>
                    <a:pt x="59611" y="0"/>
                  </a:lnTo>
                  <a:cubicBezTo>
                    <a:pt x="26689" y="0"/>
                    <a:pt x="0" y="26689"/>
                    <a:pt x="0" y="59611"/>
                  </a:cubicBezTo>
                  <a:cubicBezTo>
                    <a:pt x="0" y="92533"/>
                    <a:pt x="26689" y="119222"/>
                    <a:pt x="59611" y="119222"/>
                  </a:cubicBezTo>
                  <a:lnTo>
                    <a:pt x="310106" y="119222"/>
                  </a:lnTo>
                  <a:cubicBezTo>
                    <a:pt x="343028" y="119222"/>
                    <a:pt x="369717" y="92533"/>
                    <a:pt x="369717" y="59611"/>
                  </a:cubicBezTo>
                  <a:cubicBezTo>
                    <a:pt x="369717" y="26689"/>
                    <a:pt x="343028" y="0"/>
                    <a:pt x="310106" y="0"/>
                  </a:cubicBezTo>
                  <a:close/>
                  <a:moveTo>
                    <a:pt x="310106" y="83909"/>
                  </a:moveTo>
                  <a:lnTo>
                    <a:pt x="59611" y="83909"/>
                  </a:lnTo>
                  <a:cubicBezTo>
                    <a:pt x="46192" y="83909"/>
                    <a:pt x="35313" y="73030"/>
                    <a:pt x="35313" y="59611"/>
                  </a:cubicBezTo>
                  <a:cubicBezTo>
                    <a:pt x="35313" y="46192"/>
                    <a:pt x="46192" y="35313"/>
                    <a:pt x="59611" y="35313"/>
                  </a:cubicBezTo>
                  <a:lnTo>
                    <a:pt x="310106" y="35313"/>
                  </a:lnTo>
                  <a:cubicBezTo>
                    <a:pt x="323524" y="35313"/>
                    <a:pt x="334403" y="46192"/>
                    <a:pt x="334403" y="59611"/>
                  </a:cubicBezTo>
                  <a:cubicBezTo>
                    <a:pt x="334403" y="73030"/>
                    <a:pt x="323524" y="83909"/>
                    <a:pt x="310106" y="83909"/>
                  </a:cubicBezTo>
                  <a:close/>
                </a:path>
              </a:pathLst>
            </a:custGeom>
            <a:solidFill>
              <a:srgbClr val="3755D7"/>
            </a:solidFill>
            <a:ln w="1158" cap="flat">
              <a:noFill/>
              <a:prstDash val="solid"/>
              <a:miter/>
            </a:ln>
          </p:spPr>
          <p:txBody>
            <a:bodyPr rtlCol="0" anchor="ctr"/>
            <a:lstStyle/>
            <a:p>
              <a:endParaRPr lang="en-GB">
                <a:latin typeface="+mj-lt"/>
              </a:endParaRPr>
            </a:p>
          </p:txBody>
        </p:sp>
      </p:grpSp>
      <p:sp>
        <p:nvSpPr>
          <p:cNvPr id="25" name="Pladsholder til indhold 24">
            <a:extLst>
              <a:ext uri="{FF2B5EF4-FFF2-40B4-BE49-F238E27FC236}">
                <a16:creationId xmlns:a16="http://schemas.microsoft.com/office/drawing/2014/main" id="{55DA480A-FE9A-4784-A1EC-FF7E17E95198}"/>
              </a:ext>
            </a:extLst>
          </p:cNvPr>
          <p:cNvSpPr txBox="1">
            <a:spLocks noGrp="1"/>
          </p:cNvSpPr>
          <p:nvPr>
            <p:ph idx="1"/>
          </p:nvPr>
        </p:nvSpPr>
        <p:spPr>
          <a:xfrm>
            <a:off x="1935126" y="919530"/>
            <a:ext cx="5805487" cy="3280898"/>
          </a:xfrm>
          <a:prstGeom prst="rect">
            <a:avLst/>
          </a:prstGeom>
          <a:noFill/>
        </p:spPr>
        <p:txBody>
          <a:bodyPr wrap="square" lIns="0" tIns="0" rIns="0" bIns="0" rtlCol="0">
            <a:spAutoFit/>
          </a:bodyPr>
          <a:lstStyle/>
          <a:p>
            <a:pPr marL="0" indent="0" algn="l">
              <a:lnSpc>
                <a:spcPct val="90000"/>
              </a:lnSpc>
              <a:buClr>
                <a:schemeClr val="accent1"/>
              </a:buClr>
              <a:buSzPct val="110000"/>
              <a:buNone/>
            </a:pPr>
            <a:r>
              <a:rPr lang="da-DK" sz="1800" dirty="0"/>
              <a:t>Gravearbejdet indledes med en besigtigelse, hvor afdelingens/foreningens ejendomme gennemgås. Her afklares det, hvis der er noget TDC NET skal være opmærksomme i forbindelse med: </a:t>
            </a:r>
          </a:p>
          <a:p>
            <a:pPr>
              <a:spcAft>
                <a:spcPts val="1500"/>
              </a:spcAft>
              <a:buFont typeface="Arial" panose="020B0604020202020204" pitchFamily="34" charset="0"/>
              <a:buChar char="•"/>
            </a:pPr>
            <a:r>
              <a:rPr lang="da-DK" sz="1800" dirty="0"/>
              <a:t>Gravning i området</a:t>
            </a:r>
          </a:p>
          <a:p>
            <a:pPr>
              <a:spcAft>
                <a:spcPts val="1500"/>
              </a:spcAft>
              <a:buFont typeface="Arial" panose="020B0604020202020204" pitchFamily="34" charset="0"/>
              <a:buChar char="•"/>
            </a:pPr>
            <a:r>
              <a:rPr lang="da-DK" sz="1800" dirty="0"/>
              <a:t>Kabling i fællesområder mv.</a:t>
            </a:r>
          </a:p>
          <a:p>
            <a:pPr marL="0" indent="0" algn="l">
              <a:lnSpc>
                <a:spcPct val="90000"/>
              </a:lnSpc>
              <a:buClr>
                <a:schemeClr val="accent1"/>
              </a:buClr>
              <a:buSzPct val="110000"/>
              <a:buNone/>
            </a:pPr>
            <a:r>
              <a:rPr lang="da-DK" sz="1800" dirty="0"/>
              <a:t>Det forventes at foreningen stiller med en teknisk kontaktperson, der kender bygningerne og området.</a:t>
            </a:r>
          </a:p>
          <a:p>
            <a:pPr marL="0" indent="0" algn="l">
              <a:lnSpc>
                <a:spcPct val="90000"/>
              </a:lnSpc>
              <a:buClr>
                <a:schemeClr val="accent1"/>
              </a:buClr>
              <a:buSzPct val="110000"/>
              <a:buNone/>
            </a:pPr>
            <a:r>
              <a:rPr lang="da-DK" sz="1800" dirty="0"/>
              <a:t>Efterfølgende vil TDC NET udsende en besigtigelsesrapport, der skal underskrives af foreningen.</a:t>
            </a:r>
            <a:endParaRPr lang="da-DK" sz="2500" dirty="0"/>
          </a:p>
        </p:txBody>
      </p:sp>
      <p:pic>
        <p:nvPicPr>
          <p:cNvPr id="13" name="Pladsholder til indhold 7" descr="Et billede, der indeholder udendørs, person, bat, opbevarer&#10;&#10;Automatisk genereret beskrivelse">
            <a:extLst>
              <a:ext uri="{FF2B5EF4-FFF2-40B4-BE49-F238E27FC236}">
                <a16:creationId xmlns:a16="http://schemas.microsoft.com/office/drawing/2014/main" id="{DE10AD04-83A9-4585-BB52-654DDBD276C1}"/>
              </a:ext>
            </a:extLst>
          </p:cNvPr>
          <p:cNvPicPr>
            <a:picLocks noChangeAspect="1"/>
          </p:cNvPicPr>
          <p:nvPr/>
        </p:nvPicPr>
        <p:blipFill rotWithShape="1">
          <a:blip r:embed="rId2">
            <a:extLst>
              <a:ext uri="{28A0092B-C50C-407E-A947-70E740481C1C}">
                <a14:useLocalDpi xmlns:a14="http://schemas.microsoft.com/office/drawing/2010/main" val="0"/>
              </a:ext>
            </a:extLst>
          </a:blip>
          <a:srcRect l="34508" r="20345"/>
          <a:stretch/>
        </p:blipFill>
        <p:spPr>
          <a:xfrm>
            <a:off x="7892665" y="919530"/>
            <a:ext cx="3587052" cy="5037533"/>
          </a:xfrm>
          <a:prstGeom prst="rect">
            <a:avLst/>
          </a:prstGeom>
        </p:spPr>
      </p:pic>
    </p:spTree>
    <p:extLst>
      <p:ext uri="{BB962C8B-B14F-4D97-AF65-F5344CB8AC3E}">
        <p14:creationId xmlns:p14="http://schemas.microsoft.com/office/powerpoint/2010/main" val="14462799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il: pentagon 10">
            <a:extLst>
              <a:ext uri="{FF2B5EF4-FFF2-40B4-BE49-F238E27FC236}">
                <a16:creationId xmlns:a16="http://schemas.microsoft.com/office/drawing/2014/main" id="{2556776A-1B7B-4A96-A156-C8BA5E99598E}"/>
              </a:ext>
            </a:extLst>
          </p:cNvPr>
          <p:cNvSpPr/>
          <p:nvPr/>
        </p:nvSpPr>
        <p:spPr>
          <a:xfrm rot="5400000">
            <a:off x="-990958" y="3654341"/>
            <a:ext cx="4124983" cy="967068"/>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sp>
        <p:nvSpPr>
          <p:cNvPr id="2" name="Titel 1">
            <a:extLst>
              <a:ext uri="{FF2B5EF4-FFF2-40B4-BE49-F238E27FC236}">
                <a16:creationId xmlns:a16="http://schemas.microsoft.com/office/drawing/2014/main" id="{FF9FAFC2-6193-4542-BD0A-B70232FDA1B2}"/>
              </a:ext>
            </a:extLst>
          </p:cNvPr>
          <p:cNvSpPr>
            <a:spLocks noGrp="1"/>
          </p:cNvSpPr>
          <p:nvPr>
            <p:ph type="title"/>
          </p:nvPr>
        </p:nvSpPr>
        <p:spPr>
          <a:xfrm>
            <a:off x="1935126" y="396000"/>
            <a:ext cx="9668874" cy="319318"/>
          </a:xfrm>
        </p:spPr>
        <p:txBody>
          <a:bodyPr/>
          <a:lstStyle/>
          <a:p>
            <a:r>
              <a:rPr lang="da-DK" dirty="0"/>
              <a:t>3. Installation &amp; Aktivering</a:t>
            </a:r>
          </a:p>
        </p:txBody>
      </p:sp>
      <p:sp>
        <p:nvSpPr>
          <p:cNvPr id="4" name="Pladsholder til tekst 3">
            <a:extLst>
              <a:ext uri="{FF2B5EF4-FFF2-40B4-BE49-F238E27FC236}">
                <a16:creationId xmlns:a16="http://schemas.microsoft.com/office/drawing/2014/main" id="{B25B56AA-52F6-4831-B512-5317CCECF74B}"/>
              </a:ext>
            </a:extLst>
          </p:cNvPr>
          <p:cNvSpPr>
            <a:spLocks noGrp="1"/>
          </p:cNvSpPr>
          <p:nvPr>
            <p:ph type="body" sz="quarter" idx="26"/>
          </p:nvPr>
        </p:nvSpPr>
        <p:spPr/>
        <p:txBody>
          <a:bodyPr/>
          <a:lstStyle/>
          <a:p>
            <a:endParaRPr lang="da-DK"/>
          </a:p>
        </p:txBody>
      </p:sp>
      <p:sp>
        <p:nvSpPr>
          <p:cNvPr id="5" name="Pil: pentagon 4">
            <a:extLst>
              <a:ext uri="{FF2B5EF4-FFF2-40B4-BE49-F238E27FC236}">
                <a16:creationId xmlns:a16="http://schemas.microsoft.com/office/drawing/2014/main" id="{95FACEF1-B26B-47ED-BFD1-25E8BACA6F4F}"/>
              </a:ext>
            </a:extLst>
          </p:cNvPr>
          <p:cNvSpPr/>
          <p:nvPr/>
        </p:nvSpPr>
        <p:spPr>
          <a:xfrm rot="5400000">
            <a:off x="-377120" y="965124"/>
            <a:ext cx="2897308" cy="967068"/>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sp>
        <p:nvSpPr>
          <p:cNvPr id="16" name="Tekstfelt 15">
            <a:extLst>
              <a:ext uri="{FF2B5EF4-FFF2-40B4-BE49-F238E27FC236}">
                <a16:creationId xmlns:a16="http://schemas.microsoft.com/office/drawing/2014/main" id="{108FE63F-730B-4CCE-8BE8-22D8CFBF0F6C}"/>
              </a:ext>
            </a:extLst>
          </p:cNvPr>
          <p:cNvSpPr txBox="1"/>
          <p:nvPr/>
        </p:nvSpPr>
        <p:spPr bwMode="gray">
          <a:xfrm>
            <a:off x="720304" y="1501929"/>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Installation</a:t>
            </a:r>
          </a:p>
        </p:txBody>
      </p:sp>
      <p:grpSp>
        <p:nvGrpSpPr>
          <p:cNvPr id="26" name="Grafik 79">
            <a:extLst>
              <a:ext uri="{FF2B5EF4-FFF2-40B4-BE49-F238E27FC236}">
                <a16:creationId xmlns:a16="http://schemas.microsoft.com/office/drawing/2014/main" id="{12518AD1-BE49-4DA8-85AB-5AD82F485536}"/>
              </a:ext>
            </a:extLst>
          </p:cNvPr>
          <p:cNvGrpSpPr/>
          <p:nvPr/>
        </p:nvGrpSpPr>
        <p:grpSpPr>
          <a:xfrm>
            <a:off x="958628" y="1102355"/>
            <a:ext cx="196021" cy="275810"/>
            <a:chOff x="5231152" y="2471142"/>
            <a:chExt cx="364444" cy="512790"/>
          </a:xfrm>
        </p:grpSpPr>
        <p:sp>
          <p:nvSpPr>
            <p:cNvPr id="27" name="Freeform: Shape 239">
              <a:extLst>
                <a:ext uri="{FF2B5EF4-FFF2-40B4-BE49-F238E27FC236}">
                  <a16:creationId xmlns:a16="http://schemas.microsoft.com/office/drawing/2014/main" id="{68D7F722-26EC-4771-9AEF-082675C5DBA0}"/>
                </a:ext>
              </a:extLst>
            </p:cNvPr>
            <p:cNvSpPr/>
            <p:nvPr/>
          </p:nvSpPr>
          <p:spPr>
            <a:xfrm>
              <a:off x="5231152" y="2476938"/>
              <a:ext cx="209649" cy="506994"/>
            </a:xfrm>
            <a:custGeom>
              <a:avLst/>
              <a:gdLst>
                <a:gd name="connsiteX0" fmla="*/ 104698 w 209649"/>
                <a:gd name="connsiteY0" fmla="*/ 507926 h 506994"/>
                <a:gd name="connsiteX1" fmla="*/ 44558 w 209649"/>
                <a:gd name="connsiteY1" fmla="*/ 447799 h 506994"/>
                <a:gd name="connsiteX2" fmla="*/ 44709 w 209649"/>
                <a:gd name="connsiteY2" fmla="*/ 194110 h 506994"/>
                <a:gd name="connsiteX3" fmla="*/ 19210 w 209649"/>
                <a:gd name="connsiteY3" fmla="*/ 47348 h 506994"/>
                <a:gd name="connsiteX4" fmla="*/ 54300 w 209649"/>
                <a:gd name="connsiteY4" fmla="*/ 15840 h 506994"/>
                <a:gd name="connsiteX5" fmla="*/ 82788 w 209649"/>
                <a:gd name="connsiteY5" fmla="*/ 41 h 506994"/>
                <a:gd name="connsiteX6" fmla="*/ 82788 w 209649"/>
                <a:gd name="connsiteY6" fmla="*/ 80735 h 506994"/>
                <a:gd name="connsiteX7" fmla="*/ 83665 w 209649"/>
                <a:gd name="connsiteY7" fmla="*/ 81612 h 506994"/>
                <a:gd name="connsiteX8" fmla="*/ 126431 w 209649"/>
                <a:gd name="connsiteY8" fmla="*/ 81612 h 506994"/>
                <a:gd name="connsiteX9" fmla="*/ 127294 w 209649"/>
                <a:gd name="connsiteY9" fmla="*/ 80735 h 506994"/>
                <a:gd name="connsiteX10" fmla="*/ 127294 w 209649"/>
                <a:gd name="connsiteY10" fmla="*/ 0 h 506994"/>
                <a:gd name="connsiteX11" fmla="*/ 155658 w 209649"/>
                <a:gd name="connsiteY11" fmla="*/ 15456 h 506994"/>
                <a:gd name="connsiteX12" fmla="*/ 197774 w 209649"/>
                <a:gd name="connsiteY12" fmla="*/ 158319 h 506994"/>
                <a:gd name="connsiteX13" fmla="*/ 164798 w 209649"/>
                <a:gd name="connsiteY13" fmla="*/ 194837 h 506994"/>
                <a:gd name="connsiteX14" fmla="*/ 164674 w 209649"/>
                <a:gd name="connsiteY14" fmla="*/ 449457 h 506994"/>
                <a:gd name="connsiteX15" fmla="*/ 164674 w 209649"/>
                <a:gd name="connsiteY15" fmla="*/ 450074 h 506994"/>
                <a:gd name="connsiteX16" fmla="*/ 104698 w 209649"/>
                <a:gd name="connsiteY16" fmla="*/ 507926 h 506994"/>
                <a:gd name="connsiteX17" fmla="*/ 44407 w 209649"/>
                <a:gd name="connsiteY17" fmla="*/ 80160 h 506994"/>
                <a:gd name="connsiteX18" fmla="*/ 73182 w 209649"/>
                <a:gd name="connsiteY18" fmla="*/ 166692 h 506994"/>
                <a:gd name="connsiteX19" fmla="*/ 83131 w 209649"/>
                <a:gd name="connsiteY19" fmla="*/ 172173 h 506994"/>
                <a:gd name="connsiteX20" fmla="*/ 83131 w 209649"/>
                <a:gd name="connsiteY20" fmla="*/ 183532 h 506994"/>
                <a:gd name="connsiteX21" fmla="*/ 82966 w 209649"/>
                <a:gd name="connsiteY21" fmla="*/ 447813 h 506994"/>
                <a:gd name="connsiteX22" fmla="*/ 104739 w 209649"/>
                <a:gd name="connsiteY22" fmla="*/ 469573 h 506994"/>
                <a:gd name="connsiteX23" fmla="*/ 126389 w 209649"/>
                <a:gd name="connsiteY23" fmla="*/ 448142 h 506994"/>
                <a:gd name="connsiteX24" fmla="*/ 126527 w 209649"/>
                <a:gd name="connsiteY24" fmla="*/ 172556 h 506994"/>
                <a:gd name="connsiteX25" fmla="*/ 136694 w 209649"/>
                <a:gd name="connsiteY25" fmla="*/ 167157 h 506994"/>
                <a:gd name="connsiteX26" fmla="*/ 165675 w 209649"/>
                <a:gd name="connsiteY26" fmla="*/ 78954 h 506994"/>
                <a:gd name="connsiteX27" fmla="*/ 165675 w 209649"/>
                <a:gd name="connsiteY27" fmla="*/ 80749 h 506994"/>
                <a:gd name="connsiteX28" fmla="*/ 126431 w 209649"/>
                <a:gd name="connsiteY28" fmla="*/ 119980 h 506994"/>
                <a:gd name="connsiteX29" fmla="*/ 83679 w 209649"/>
                <a:gd name="connsiteY29" fmla="*/ 119980 h 506994"/>
                <a:gd name="connsiteX30" fmla="*/ 44435 w 209649"/>
                <a:gd name="connsiteY30" fmla="*/ 80735 h 50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9649" h="506994">
                  <a:moveTo>
                    <a:pt x="104698" y="507926"/>
                  </a:moveTo>
                  <a:cubicBezTo>
                    <a:pt x="71501" y="507896"/>
                    <a:pt x="44596" y="480996"/>
                    <a:pt x="44558" y="447799"/>
                  </a:cubicBezTo>
                  <a:cubicBezTo>
                    <a:pt x="44558" y="446772"/>
                    <a:pt x="44681" y="243302"/>
                    <a:pt x="44709" y="194110"/>
                  </a:cubicBezTo>
                  <a:cubicBezTo>
                    <a:pt x="-2860" y="160624"/>
                    <a:pt x="-14277" y="94916"/>
                    <a:pt x="19210" y="47348"/>
                  </a:cubicBezTo>
                  <a:cubicBezTo>
                    <a:pt x="28375" y="34328"/>
                    <a:pt x="40372" y="23556"/>
                    <a:pt x="54300" y="15840"/>
                  </a:cubicBezTo>
                  <a:lnTo>
                    <a:pt x="82788" y="41"/>
                  </a:lnTo>
                  <a:lnTo>
                    <a:pt x="82788" y="80735"/>
                  </a:lnTo>
                  <a:cubicBezTo>
                    <a:pt x="82815" y="81208"/>
                    <a:pt x="83192" y="81585"/>
                    <a:pt x="83665" y="81612"/>
                  </a:cubicBezTo>
                  <a:lnTo>
                    <a:pt x="126431" y="81612"/>
                  </a:lnTo>
                  <a:cubicBezTo>
                    <a:pt x="126901" y="81585"/>
                    <a:pt x="127273" y="81205"/>
                    <a:pt x="127294" y="80735"/>
                  </a:cubicBezTo>
                  <a:lnTo>
                    <a:pt x="127294" y="0"/>
                  </a:lnTo>
                  <a:lnTo>
                    <a:pt x="155658" y="15456"/>
                  </a:lnTo>
                  <a:cubicBezTo>
                    <a:pt x="206739" y="43277"/>
                    <a:pt x="225595" y="107239"/>
                    <a:pt x="197774" y="158319"/>
                  </a:cubicBezTo>
                  <a:cubicBezTo>
                    <a:pt x="189819" y="172925"/>
                    <a:pt x="178518" y="185439"/>
                    <a:pt x="164798" y="194837"/>
                  </a:cubicBezTo>
                  <a:lnTo>
                    <a:pt x="164674" y="449457"/>
                  </a:lnTo>
                  <a:lnTo>
                    <a:pt x="164674" y="450074"/>
                  </a:lnTo>
                  <a:cubicBezTo>
                    <a:pt x="162592" y="481987"/>
                    <a:pt x="135680" y="507926"/>
                    <a:pt x="104698" y="507926"/>
                  </a:cubicBezTo>
                  <a:close/>
                  <a:moveTo>
                    <a:pt x="44407" y="80160"/>
                  </a:moveTo>
                  <a:cubicBezTo>
                    <a:pt x="29837" y="112087"/>
                    <a:pt x="42394" y="149848"/>
                    <a:pt x="73182" y="166692"/>
                  </a:cubicBezTo>
                  <a:lnTo>
                    <a:pt x="83131" y="172173"/>
                  </a:lnTo>
                  <a:lnTo>
                    <a:pt x="83131" y="183532"/>
                  </a:lnTo>
                  <a:cubicBezTo>
                    <a:pt x="83131" y="183532"/>
                    <a:pt x="82966" y="446484"/>
                    <a:pt x="82966" y="447813"/>
                  </a:cubicBezTo>
                  <a:cubicBezTo>
                    <a:pt x="82981" y="459830"/>
                    <a:pt x="92722" y="469564"/>
                    <a:pt x="104739" y="469573"/>
                  </a:cubicBezTo>
                  <a:cubicBezTo>
                    <a:pt x="115551" y="469573"/>
                    <a:pt x="125362" y="459816"/>
                    <a:pt x="126389" y="448142"/>
                  </a:cubicBezTo>
                  <a:lnTo>
                    <a:pt x="126527" y="172556"/>
                  </a:lnTo>
                  <a:lnTo>
                    <a:pt x="136694" y="167157"/>
                  </a:lnTo>
                  <a:cubicBezTo>
                    <a:pt x="168488" y="150321"/>
                    <a:pt x="181287" y="111366"/>
                    <a:pt x="165675" y="78954"/>
                  </a:cubicBezTo>
                  <a:lnTo>
                    <a:pt x="165675" y="80749"/>
                  </a:lnTo>
                  <a:cubicBezTo>
                    <a:pt x="165645" y="102409"/>
                    <a:pt x="148090" y="119956"/>
                    <a:pt x="126431" y="119980"/>
                  </a:cubicBezTo>
                  <a:lnTo>
                    <a:pt x="83679" y="119980"/>
                  </a:lnTo>
                  <a:cubicBezTo>
                    <a:pt x="62018" y="119949"/>
                    <a:pt x="44465" y="102396"/>
                    <a:pt x="44435" y="80735"/>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29" name="Freeform: Shape 240">
              <a:extLst>
                <a:ext uri="{FF2B5EF4-FFF2-40B4-BE49-F238E27FC236}">
                  <a16:creationId xmlns:a16="http://schemas.microsoft.com/office/drawing/2014/main" id="{9E75594F-9B5C-47F2-ADD7-1113D666A42C}"/>
                </a:ext>
              </a:extLst>
            </p:cNvPr>
            <p:cNvSpPr/>
            <p:nvPr/>
          </p:nvSpPr>
          <p:spPr>
            <a:xfrm>
              <a:off x="5472273" y="2471142"/>
              <a:ext cx="123323" cy="512475"/>
            </a:xfrm>
            <a:custGeom>
              <a:avLst/>
              <a:gdLst>
                <a:gd name="connsiteX0" fmla="*/ 83010 w 123322"/>
                <a:gd name="connsiteY0" fmla="*/ 205045 h 512475"/>
                <a:gd name="connsiteX1" fmla="*/ 83010 w 123322"/>
                <a:gd name="connsiteY1" fmla="*/ 46246 h 512475"/>
                <a:gd name="connsiteX2" fmla="*/ 82928 w 123322"/>
                <a:gd name="connsiteY2" fmla="*/ 46246 h 512475"/>
                <a:gd name="connsiteX3" fmla="*/ 82928 w 123322"/>
                <a:gd name="connsiteY3" fmla="*/ 16676 h 512475"/>
                <a:gd name="connsiteX4" fmla="*/ 66252 w 123322"/>
                <a:gd name="connsiteY4" fmla="*/ 0 h 512475"/>
                <a:gd name="connsiteX5" fmla="*/ 58345 w 123322"/>
                <a:gd name="connsiteY5" fmla="*/ 0 h 512475"/>
                <a:gd name="connsiteX6" fmla="*/ 41669 w 123322"/>
                <a:gd name="connsiteY6" fmla="*/ 16676 h 512475"/>
                <a:gd name="connsiteX7" fmla="*/ 41669 w 123322"/>
                <a:gd name="connsiteY7" fmla="*/ 46246 h 512475"/>
                <a:gd name="connsiteX8" fmla="*/ 41341 w 123322"/>
                <a:gd name="connsiteY8" fmla="*/ 46246 h 512475"/>
                <a:gd name="connsiteX9" fmla="*/ 41341 w 123322"/>
                <a:gd name="connsiteY9" fmla="*/ 204935 h 512475"/>
                <a:gd name="connsiteX10" fmla="*/ 0 w 123322"/>
                <a:gd name="connsiteY10" fmla="*/ 262390 h 512475"/>
                <a:gd name="connsiteX11" fmla="*/ 0 w 123322"/>
                <a:gd name="connsiteY11" fmla="*/ 452595 h 512475"/>
                <a:gd name="connsiteX12" fmla="*/ 62892 w 123322"/>
                <a:gd name="connsiteY12" fmla="*/ 513643 h 512475"/>
                <a:gd name="connsiteX13" fmla="*/ 123940 w 123322"/>
                <a:gd name="connsiteY13" fmla="*/ 452595 h 512475"/>
                <a:gd name="connsiteX14" fmla="*/ 123940 w 123322"/>
                <a:gd name="connsiteY14" fmla="*/ 263322 h 512475"/>
                <a:gd name="connsiteX15" fmla="*/ 83010 w 123322"/>
                <a:gd name="connsiteY15" fmla="*/ 205045 h 512475"/>
                <a:gd name="connsiteX16" fmla="*/ 85559 w 123322"/>
                <a:gd name="connsiteY16" fmla="*/ 452595 h 512475"/>
                <a:gd name="connsiteX17" fmla="*/ 61513 w 123322"/>
                <a:gd name="connsiteY17" fmla="*/ 475761 h 512475"/>
                <a:gd name="connsiteX18" fmla="*/ 38353 w 123322"/>
                <a:gd name="connsiteY18" fmla="*/ 452828 h 512475"/>
                <a:gd name="connsiteX19" fmla="*/ 38353 w 123322"/>
                <a:gd name="connsiteY19" fmla="*/ 262842 h 512475"/>
                <a:gd name="connsiteX20" fmla="*/ 62189 w 123322"/>
                <a:gd name="connsiteY20" fmla="*/ 239486 h 512475"/>
                <a:gd name="connsiteX21" fmla="*/ 85545 w 123322"/>
                <a:gd name="connsiteY21" fmla="*/ 263322 h 51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322" h="512475">
                  <a:moveTo>
                    <a:pt x="83010" y="205045"/>
                  </a:moveTo>
                  <a:lnTo>
                    <a:pt x="83010" y="46246"/>
                  </a:lnTo>
                  <a:lnTo>
                    <a:pt x="82928" y="46246"/>
                  </a:lnTo>
                  <a:lnTo>
                    <a:pt x="82928" y="16676"/>
                  </a:lnTo>
                  <a:cubicBezTo>
                    <a:pt x="82906" y="7475"/>
                    <a:pt x="75452" y="23"/>
                    <a:pt x="66252" y="0"/>
                  </a:cubicBezTo>
                  <a:lnTo>
                    <a:pt x="58345" y="0"/>
                  </a:lnTo>
                  <a:cubicBezTo>
                    <a:pt x="49148" y="30"/>
                    <a:pt x="41700" y="7479"/>
                    <a:pt x="41669" y="16676"/>
                  </a:cubicBezTo>
                  <a:lnTo>
                    <a:pt x="41669" y="46246"/>
                  </a:lnTo>
                  <a:lnTo>
                    <a:pt x="41341" y="46246"/>
                  </a:lnTo>
                  <a:lnTo>
                    <a:pt x="41341" y="204935"/>
                  </a:lnTo>
                  <a:cubicBezTo>
                    <a:pt x="16958" y="213634"/>
                    <a:pt x="500" y="236507"/>
                    <a:pt x="0" y="262390"/>
                  </a:cubicBezTo>
                  <a:lnTo>
                    <a:pt x="0" y="452595"/>
                  </a:lnTo>
                  <a:cubicBezTo>
                    <a:pt x="508" y="486820"/>
                    <a:pt x="28666" y="514153"/>
                    <a:pt x="62892" y="513643"/>
                  </a:cubicBezTo>
                  <a:cubicBezTo>
                    <a:pt x="96399" y="513145"/>
                    <a:pt x="123441" y="486102"/>
                    <a:pt x="123940" y="452595"/>
                  </a:cubicBezTo>
                  <a:lnTo>
                    <a:pt x="123940" y="263322"/>
                  </a:lnTo>
                  <a:cubicBezTo>
                    <a:pt x="123904" y="237224"/>
                    <a:pt x="107547" y="213935"/>
                    <a:pt x="83010" y="205045"/>
                  </a:cubicBezTo>
                  <a:close/>
                  <a:moveTo>
                    <a:pt x="85559" y="452595"/>
                  </a:moveTo>
                  <a:cubicBezTo>
                    <a:pt x="85316" y="465632"/>
                    <a:pt x="74550" y="476003"/>
                    <a:pt x="61513" y="475761"/>
                  </a:cubicBezTo>
                  <a:cubicBezTo>
                    <a:pt x="48909" y="475525"/>
                    <a:pt x="38712" y="465429"/>
                    <a:pt x="38353" y="452828"/>
                  </a:cubicBezTo>
                  <a:lnTo>
                    <a:pt x="38353" y="262842"/>
                  </a:lnTo>
                  <a:cubicBezTo>
                    <a:pt x="38486" y="249811"/>
                    <a:pt x="49158" y="239353"/>
                    <a:pt x="62189" y="239486"/>
                  </a:cubicBezTo>
                  <a:cubicBezTo>
                    <a:pt x="75220" y="239619"/>
                    <a:pt x="85678" y="250291"/>
                    <a:pt x="85545" y="263322"/>
                  </a:cubicBez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22" name="Pladsholder til indhold 24">
            <a:extLst>
              <a:ext uri="{FF2B5EF4-FFF2-40B4-BE49-F238E27FC236}">
                <a16:creationId xmlns:a16="http://schemas.microsoft.com/office/drawing/2014/main" id="{4AA0F044-233A-4644-8C9C-35C96A10A5DE}"/>
              </a:ext>
            </a:extLst>
          </p:cNvPr>
          <p:cNvSpPr txBox="1">
            <a:spLocks/>
          </p:cNvSpPr>
          <p:nvPr/>
        </p:nvSpPr>
        <p:spPr>
          <a:xfrm>
            <a:off x="1767076" y="886532"/>
            <a:ext cx="5973538" cy="6004721"/>
          </a:xfrm>
          <a:prstGeom prst="rect">
            <a:avLst/>
          </a:prstGeom>
          <a:noFill/>
        </p:spPr>
        <p:txBody>
          <a:bodyPr vert="horz" wrap="square" lIns="0" tIns="0" rIns="0" bIns="0" rtlCol="0">
            <a:spAutoFit/>
          </a:bodyPr>
          <a:lstStyle>
            <a:lvl1pPr marL="216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1pPr>
            <a:lvl2pPr marL="432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2pPr>
            <a:lvl3pPr marL="648000" indent="-216000" algn="l" defTabSz="914400" rtl="0" eaLnBrk="1" latinLnBrk="0" hangingPunct="1">
              <a:lnSpc>
                <a:spcPct val="90000"/>
              </a:lnSpc>
              <a:spcBef>
                <a:spcPts val="0"/>
              </a:spcBef>
              <a:spcAft>
                <a:spcPts val="600"/>
              </a:spcAft>
              <a:buClr>
                <a:schemeClr val="accent1"/>
              </a:buClr>
              <a:buSzPct val="110000"/>
              <a:buFont typeface="Arial" panose="020B0604020202020204" pitchFamily="34" charset="0"/>
              <a:buChar char="●"/>
              <a:defRPr sz="1400" b="0" kern="1200">
                <a:solidFill>
                  <a:schemeClr val="accent2"/>
                </a:solidFill>
                <a:latin typeface="+mj-lt"/>
                <a:ea typeface="+mn-ea"/>
                <a:cs typeface="+mn-cs"/>
              </a:defRPr>
            </a:lvl3pPr>
            <a:lvl4pPr marL="0" indent="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1400" b="1" kern="1200">
                <a:solidFill>
                  <a:schemeClr val="accent2"/>
                </a:solidFill>
                <a:latin typeface="+mj-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6pPr>
            <a:lvl7pPr marL="36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baseline="0">
                <a:solidFill>
                  <a:schemeClr val="accent2"/>
                </a:solidFill>
                <a:latin typeface="+mj-lt"/>
                <a:ea typeface="+mn-ea"/>
                <a:cs typeface="+mn-cs"/>
              </a:defRPr>
            </a:lvl7pPr>
            <a:lvl8pPr marL="540000" indent="-180000" algn="l" defTabSz="914400" rtl="0" eaLnBrk="1" latinLnBrk="0" hangingPunct="1">
              <a:lnSpc>
                <a:spcPct val="90000"/>
              </a:lnSpc>
              <a:spcBef>
                <a:spcPts val="0"/>
              </a:spcBef>
              <a:spcAft>
                <a:spcPts val="600"/>
              </a:spcAft>
              <a:buFont typeface="Arial" panose="020B0604020202020204" pitchFamily="34" charset="0"/>
              <a:buChar char="•"/>
              <a:defRPr sz="1400" b="0" kern="1200">
                <a:solidFill>
                  <a:schemeClr val="accent2"/>
                </a:solidFill>
                <a:latin typeface="+mj-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1400" b="0" i="1" kern="1200" baseline="0">
                <a:solidFill>
                  <a:schemeClr val="accent1"/>
                </a:solidFill>
                <a:latin typeface="+mj-lt"/>
                <a:ea typeface="+mn-ea"/>
                <a:cs typeface="+mn-cs"/>
              </a:defRPr>
            </a:lvl9pPr>
          </a:lstStyle>
          <a:p>
            <a:pPr marL="0" indent="0">
              <a:buNone/>
            </a:pPr>
            <a:r>
              <a:rPr lang="da-DK" sz="1800" dirty="0"/>
              <a:t>Fiberkablerne bliver lagt ind til de enkelte ejendomme samt opsætning af fiberstik i alle boligerne. TDC NET varetager advisering om de individuelle installationsbesøg.</a:t>
            </a:r>
          </a:p>
          <a:p>
            <a:pPr marL="0" indent="0">
              <a:buNone/>
            </a:pPr>
            <a:endParaRPr lang="da-DK" sz="1800" dirty="0"/>
          </a:p>
          <a:p>
            <a:pPr marL="0" indent="0">
              <a:buNone/>
            </a:pPr>
            <a:r>
              <a:rPr lang="da-DK" sz="1800" dirty="0"/>
              <a:t>Fiberstikket vil blive sat op af en tekniker ifm. Etableringsarbejdet. </a:t>
            </a:r>
            <a:r>
              <a:rPr lang="da-DK" sz="1800" b="0" dirty="0"/>
              <a:t>Fiberstikket måler </a:t>
            </a:r>
            <a:r>
              <a:rPr lang="da-DK" sz="1800" b="0" dirty="0" err="1"/>
              <a:t>BxHxD</a:t>
            </a:r>
            <a:r>
              <a:rPr lang="da-DK" sz="1800" b="0" dirty="0"/>
              <a:t> 110x110x18 mm og kan placeres maksimalt 12 meter fra indføringspunktet udefra. Fiberstikket skal placeres i nærheden af 230v strømudtag. </a:t>
            </a:r>
            <a:endParaRPr lang="da-DK" sz="1800" dirty="0"/>
          </a:p>
          <a:p>
            <a:pPr marL="0" indent="0">
              <a:buNone/>
            </a:pPr>
            <a:endParaRPr lang="da-DK" sz="1800" dirty="0"/>
          </a:p>
          <a:p>
            <a:pPr marL="0" indent="0">
              <a:buNone/>
            </a:pPr>
            <a:r>
              <a:rPr lang="da-DK" sz="1800" dirty="0"/>
              <a:t>Med en fibertilslutning fra TDC NET, kan hver beboer frit vælge den udbyder, de ønsker abonnement hos. </a:t>
            </a:r>
          </a:p>
          <a:p>
            <a:pPr marL="0" indent="0">
              <a:buNone/>
            </a:pPr>
            <a:endParaRPr lang="da-DK" sz="1800" dirty="0"/>
          </a:p>
          <a:p>
            <a:pPr marL="0" indent="0">
              <a:buNone/>
            </a:pPr>
            <a:r>
              <a:rPr lang="da-DK" sz="1800" dirty="0"/>
              <a:t>Efter etableringen af fiberanlægget kan beboerne selv vælge, om de vil bestille et fiberabonnement.</a:t>
            </a:r>
          </a:p>
          <a:p>
            <a:pPr marL="0" indent="0">
              <a:buNone/>
            </a:pPr>
            <a:endParaRPr lang="da-DK" sz="1800" dirty="0"/>
          </a:p>
          <a:p>
            <a:pPr marL="0" indent="0">
              <a:buNone/>
            </a:pPr>
            <a:r>
              <a:rPr lang="da-DK" sz="1800" dirty="0"/>
              <a:t>En oversigt over udbydere findes på vores hjemmeside: </a:t>
            </a:r>
            <a:r>
              <a:rPr lang="da-DK" sz="1800" dirty="0">
                <a:hlinkClick r:id="rId3"/>
              </a:rPr>
              <a:t>https://tdcnet.dk/fiber/udbydere/</a:t>
            </a:r>
            <a:r>
              <a:rPr lang="da-DK" sz="1800" dirty="0"/>
              <a:t> </a:t>
            </a:r>
          </a:p>
          <a:p>
            <a:pPr marL="0" indent="0">
              <a:buNone/>
            </a:pPr>
            <a:endParaRPr lang="da-DK" sz="1800" dirty="0"/>
          </a:p>
          <a:p>
            <a:pPr marL="0" indent="0">
              <a:buNone/>
            </a:pPr>
            <a:endParaRPr lang="da-DK" sz="1800" dirty="0"/>
          </a:p>
        </p:txBody>
      </p:sp>
      <p:sp>
        <p:nvSpPr>
          <p:cNvPr id="25" name="Tekstfelt 24">
            <a:extLst>
              <a:ext uri="{FF2B5EF4-FFF2-40B4-BE49-F238E27FC236}">
                <a16:creationId xmlns:a16="http://schemas.microsoft.com/office/drawing/2014/main" id="{4564EE55-0751-4332-8134-2FDF46861CB2}"/>
              </a:ext>
            </a:extLst>
          </p:cNvPr>
          <p:cNvSpPr txBox="1"/>
          <p:nvPr/>
        </p:nvSpPr>
        <p:spPr bwMode="gray">
          <a:xfrm>
            <a:off x="678149" y="3415618"/>
            <a:ext cx="772883" cy="24622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Aktivering</a:t>
            </a:r>
          </a:p>
          <a:p>
            <a:pPr algn="ctr"/>
            <a:r>
              <a:rPr lang="da-DK" sz="800" b="1" kern="0" dirty="0">
                <a:solidFill>
                  <a:schemeClr val="accent2"/>
                </a:solidFill>
                <a:latin typeface="+mj-lt"/>
              </a:rPr>
              <a:t>Tilslutning</a:t>
            </a:r>
          </a:p>
        </p:txBody>
      </p:sp>
      <p:grpSp>
        <p:nvGrpSpPr>
          <p:cNvPr id="28" name="Grafik 97">
            <a:extLst>
              <a:ext uri="{FF2B5EF4-FFF2-40B4-BE49-F238E27FC236}">
                <a16:creationId xmlns:a16="http://schemas.microsoft.com/office/drawing/2014/main" id="{9443B513-DF53-453D-BC44-B210D9F3F96B}"/>
              </a:ext>
            </a:extLst>
          </p:cNvPr>
          <p:cNvGrpSpPr/>
          <p:nvPr/>
        </p:nvGrpSpPr>
        <p:grpSpPr>
          <a:xfrm>
            <a:off x="997644" y="3087070"/>
            <a:ext cx="143647" cy="260585"/>
            <a:chOff x="4357289" y="3434614"/>
            <a:chExt cx="272681" cy="494662"/>
          </a:xfrm>
        </p:grpSpPr>
        <p:sp>
          <p:nvSpPr>
            <p:cNvPr id="30" name="Freeform: Shape 279">
              <a:extLst>
                <a:ext uri="{FF2B5EF4-FFF2-40B4-BE49-F238E27FC236}">
                  <a16:creationId xmlns:a16="http://schemas.microsoft.com/office/drawing/2014/main" id="{0C6DC276-5BD4-4919-8289-36708441D8A0}"/>
                </a:ext>
              </a:extLst>
            </p:cNvPr>
            <p:cNvSpPr/>
            <p:nvPr/>
          </p:nvSpPr>
          <p:spPr>
            <a:xfrm>
              <a:off x="4357289" y="3434614"/>
              <a:ext cx="272681" cy="494662"/>
            </a:xfrm>
            <a:custGeom>
              <a:avLst/>
              <a:gdLst>
                <a:gd name="connsiteX0" fmla="*/ 237356 w 272680"/>
                <a:gd name="connsiteY0" fmla="*/ 0 h 494662"/>
                <a:gd name="connsiteX1" fmla="*/ 35627 w 272680"/>
                <a:gd name="connsiteY1" fmla="*/ 0 h 494662"/>
                <a:gd name="connsiteX2" fmla="*/ 0 w 272680"/>
                <a:gd name="connsiteY2" fmla="*/ 35627 h 494662"/>
                <a:gd name="connsiteX3" fmla="*/ 0 w 272680"/>
                <a:gd name="connsiteY3" fmla="*/ 459542 h 494662"/>
                <a:gd name="connsiteX4" fmla="*/ 35627 w 272680"/>
                <a:gd name="connsiteY4" fmla="*/ 495169 h 494662"/>
                <a:gd name="connsiteX5" fmla="*/ 237356 w 272680"/>
                <a:gd name="connsiteY5" fmla="*/ 495169 h 494662"/>
                <a:gd name="connsiteX6" fmla="*/ 272982 w 272680"/>
                <a:gd name="connsiteY6" fmla="*/ 459542 h 494662"/>
                <a:gd name="connsiteX7" fmla="*/ 272982 w 272680"/>
                <a:gd name="connsiteY7" fmla="*/ 35627 h 494662"/>
                <a:gd name="connsiteX8" fmla="*/ 237356 w 272680"/>
                <a:gd name="connsiteY8" fmla="*/ 0 h 494662"/>
                <a:gd name="connsiteX9" fmla="*/ 234615 w 272680"/>
                <a:gd name="connsiteY9" fmla="*/ 456802 h 494662"/>
                <a:gd name="connsiteX10" fmla="*/ 38367 w 272680"/>
                <a:gd name="connsiteY10" fmla="*/ 456802 h 494662"/>
                <a:gd name="connsiteX11" fmla="*/ 38367 w 272680"/>
                <a:gd name="connsiteY11" fmla="*/ 38367 h 494662"/>
                <a:gd name="connsiteX12" fmla="*/ 97411 w 272680"/>
                <a:gd name="connsiteY12" fmla="*/ 38367 h 494662"/>
                <a:gd name="connsiteX13" fmla="*/ 97411 w 272680"/>
                <a:gd name="connsiteY13" fmla="*/ 56687 h 494662"/>
                <a:gd name="connsiteX14" fmla="*/ 174954 w 272680"/>
                <a:gd name="connsiteY14" fmla="*/ 56687 h 494662"/>
                <a:gd name="connsiteX15" fmla="*/ 174954 w 272680"/>
                <a:gd name="connsiteY15" fmla="*/ 38367 h 494662"/>
                <a:gd name="connsiteX16" fmla="*/ 234615 w 272680"/>
                <a:gd name="connsiteY16" fmla="*/ 38367 h 49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2680" h="494662">
                  <a:moveTo>
                    <a:pt x="237356" y="0"/>
                  </a:moveTo>
                  <a:lnTo>
                    <a:pt x="35627" y="0"/>
                  </a:lnTo>
                  <a:cubicBezTo>
                    <a:pt x="15951" y="0"/>
                    <a:pt x="0" y="15951"/>
                    <a:pt x="0" y="35627"/>
                  </a:cubicBezTo>
                  <a:lnTo>
                    <a:pt x="0" y="459542"/>
                  </a:lnTo>
                  <a:cubicBezTo>
                    <a:pt x="0" y="479218"/>
                    <a:pt x="15951" y="495169"/>
                    <a:pt x="35627" y="495169"/>
                  </a:cubicBezTo>
                  <a:lnTo>
                    <a:pt x="237356" y="495169"/>
                  </a:lnTo>
                  <a:cubicBezTo>
                    <a:pt x="257031" y="495169"/>
                    <a:pt x="272982" y="479218"/>
                    <a:pt x="272982" y="459542"/>
                  </a:cubicBezTo>
                  <a:lnTo>
                    <a:pt x="272982" y="35627"/>
                  </a:lnTo>
                  <a:cubicBezTo>
                    <a:pt x="272982" y="15951"/>
                    <a:pt x="257031" y="0"/>
                    <a:pt x="237356" y="0"/>
                  </a:cubicBezTo>
                  <a:close/>
                  <a:moveTo>
                    <a:pt x="234615" y="456802"/>
                  </a:moveTo>
                  <a:lnTo>
                    <a:pt x="38367" y="456802"/>
                  </a:lnTo>
                  <a:lnTo>
                    <a:pt x="38367" y="38367"/>
                  </a:lnTo>
                  <a:lnTo>
                    <a:pt x="97411" y="38367"/>
                  </a:lnTo>
                  <a:lnTo>
                    <a:pt x="97411" y="56687"/>
                  </a:lnTo>
                  <a:lnTo>
                    <a:pt x="174954" y="56687"/>
                  </a:lnTo>
                  <a:lnTo>
                    <a:pt x="174954" y="38367"/>
                  </a:lnTo>
                  <a:lnTo>
                    <a:pt x="234615" y="38367"/>
                  </a:lnTo>
                  <a:close/>
                </a:path>
              </a:pathLst>
            </a:custGeom>
            <a:solidFill>
              <a:srgbClr val="3755D7"/>
            </a:solidFill>
            <a:ln w="1363" cap="flat">
              <a:noFill/>
              <a:prstDash val="solid"/>
              <a:miter/>
            </a:ln>
          </p:spPr>
          <p:txBody>
            <a:bodyPr rtlCol="0" anchor="ctr"/>
            <a:lstStyle/>
            <a:p>
              <a:endParaRPr lang="en-GB">
                <a:latin typeface="+mj-lt"/>
              </a:endParaRPr>
            </a:p>
          </p:txBody>
        </p:sp>
        <p:sp>
          <p:nvSpPr>
            <p:cNvPr id="31" name="Freeform: Shape 280">
              <a:extLst>
                <a:ext uri="{FF2B5EF4-FFF2-40B4-BE49-F238E27FC236}">
                  <a16:creationId xmlns:a16="http://schemas.microsoft.com/office/drawing/2014/main" id="{FE86F4CE-C2D1-428E-82BF-9485D02C5965}"/>
                </a:ext>
              </a:extLst>
            </p:cNvPr>
            <p:cNvSpPr/>
            <p:nvPr/>
          </p:nvSpPr>
          <p:spPr>
            <a:xfrm>
              <a:off x="4474898" y="3820944"/>
              <a:ext cx="36997" cy="36997"/>
            </a:xfrm>
            <a:custGeom>
              <a:avLst/>
              <a:gdLst>
                <a:gd name="connsiteX0" fmla="*/ 18937 w 36996"/>
                <a:gd name="connsiteY0" fmla="*/ 0 h 36996"/>
                <a:gd name="connsiteX1" fmla="*/ 0 w 36996"/>
                <a:gd name="connsiteY1" fmla="*/ 18937 h 36996"/>
                <a:gd name="connsiteX2" fmla="*/ 18937 w 36996"/>
                <a:gd name="connsiteY2" fmla="*/ 37874 h 36996"/>
                <a:gd name="connsiteX3" fmla="*/ 37874 w 36996"/>
                <a:gd name="connsiteY3" fmla="*/ 18937 h 36996"/>
                <a:gd name="connsiteX4" fmla="*/ 18937 w 36996"/>
                <a:gd name="connsiteY4" fmla="*/ 0 h 3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6" h="36996">
                  <a:moveTo>
                    <a:pt x="18937" y="0"/>
                  </a:moveTo>
                  <a:cubicBezTo>
                    <a:pt x="8478" y="0"/>
                    <a:pt x="0" y="8478"/>
                    <a:pt x="0" y="18937"/>
                  </a:cubicBezTo>
                  <a:cubicBezTo>
                    <a:pt x="0" y="29396"/>
                    <a:pt x="8478" y="37874"/>
                    <a:pt x="18937" y="37874"/>
                  </a:cubicBezTo>
                  <a:cubicBezTo>
                    <a:pt x="29396" y="37874"/>
                    <a:pt x="37874" y="29396"/>
                    <a:pt x="37874" y="18937"/>
                  </a:cubicBezTo>
                  <a:cubicBezTo>
                    <a:pt x="37874" y="8478"/>
                    <a:pt x="29396" y="0"/>
                    <a:pt x="18937" y="0"/>
                  </a:cubicBez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32" name="Tekstfelt 31">
            <a:extLst>
              <a:ext uri="{FF2B5EF4-FFF2-40B4-BE49-F238E27FC236}">
                <a16:creationId xmlns:a16="http://schemas.microsoft.com/office/drawing/2014/main" id="{0BEE0DCC-F800-4F00-8F55-A9D4DB2EB324}"/>
              </a:ext>
            </a:extLst>
          </p:cNvPr>
          <p:cNvSpPr txBox="1"/>
          <p:nvPr/>
        </p:nvSpPr>
        <p:spPr bwMode="gray">
          <a:xfrm>
            <a:off x="690988" y="5289835"/>
            <a:ext cx="767923" cy="24622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Aktivering</a:t>
            </a:r>
          </a:p>
          <a:p>
            <a:pPr algn="ctr"/>
            <a:r>
              <a:rPr lang="da-DK" sz="800" b="1" kern="0" dirty="0">
                <a:solidFill>
                  <a:schemeClr val="accent2"/>
                </a:solidFill>
                <a:latin typeface="+mj-lt"/>
              </a:rPr>
              <a:t>abonnement</a:t>
            </a:r>
          </a:p>
        </p:txBody>
      </p:sp>
      <p:grpSp>
        <p:nvGrpSpPr>
          <p:cNvPr id="33" name="Grafik 55">
            <a:extLst>
              <a:ext uri="{FF2B5EF4-FFF2-40B4-BE49-F238E27FC236}">
                <a16:creationId xmlns:a16="http://schemas.microsoft.com/office/drawing/2014/main" id="{AEA256F6-7E7B-44EE-B745-6B43D78571E7}"/>
              </a:ext>
            </a:extLst>
          </p:cNvPr>
          <p:cNvGrpSpPr/>
          <p:nvPr/>
        </p:nvGrpSpPr>
        <p:grpSpPr>
          <a:xfrm>
            <a:off x="904042" y="4833725"/>
            <a:ext cx="325852" cy="372755"/>
            <a:chOff x="6099167" y="1390195"/>
            <a:chExt cx="542620" cy="620725"/>
          </a:xfrm>
        </p:grpSpPr>
        <p:sp>
          <p:nvSpPr>
            <p:cNvPr id="34" name="Freeform: Shape 195">
              <a:extLst>
                <a:ext uri="{FF2B5EF4-FFF2-40B4-BE49-F238E27FC236}">
                  <a16:creationId xmlns:a16="http://schemas.microsoft.com/office/drawing/2014/main" id="{60DD2DBD-5454-4408-BFD0-30E5C445C264}"/>
                </a:ext>
              </a:extLst>
            </p:cNvPr>
            <p:cNvSpPr/>
            <p:nvPr/>
          </p:nvSpPr>
          <p:spPr>
            <a:xfrm>
              <a:off x="6341934" y="1836898"/>
              <a:ext cx="57551" cy="57551"/>
            </a:xfrm>
            <a:custGeom>
              <a:avLst/>
              <a:gdLst>
                <a:gd name="connsiteX0" fmla="*/ 29132 w 57550"/>
                <a:gd name="connsiteY0" fmla="*/ 0 h 57550"/>
                <a:gd name="connsiteX1" fmla="*/ 0 w 57550"/>
                <a:gd name="connsiteY1" fmla="*/ 29132 h 57550"/>
                <a:gd name="connsiteX2" fmla="*/ 29132 w 57550"/>
                <a:gd name="connsiteY2" fmla="*/ 58263 h 57550"/>
                <a:gd name="connsiteX3" fmla="*/ 58263 w 57550"/>
                <a:gd name="connsiteY3" fmla="*/ 29132 h 57550"/>
                <a:gd name="connsiteX4" fmla="*/ 29132 w 57550"/>
                <a:gd name="connsiteY4" fmla="*/ 0 h 5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50" h="57550">
                  <a:moveTo>
                    <a:pt x="29132" y="0"/>
                  </a:moveTo>
                  <a:cubicBezTo>
                    <a:pt x="13042" y="0"/>
                    <a:pt x="0" y="13042"/>
                    <a:pt x="0" y="29132"/>
                  </a:cubicBezTo>
                  <a:cubicBezTo>
                    <a:pt x="0" y="45221"/>
                    <a:pt x="13042" y="58263"/>
                    <a:pt x="29132" y="58263"/>
                  </a:cubicBezTo>
                  <a:cubicBezTo>
                    <a:pt x="45221" y="58263"/>
                    <a:pt x="58263" y="45221"/>
                    <a:pt x="58263" y="29132"/>
                  </a:cubicBezTo>
                  <a:cubicBezTo>
                    <a:pt x="58263" y="13042"/>
                    <a:pt x="45221" y="0"/>
                    <a:pt x="29132" y="0"/>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35" name="Freeform: Shape 196">
              <a:extLst>
                <a:ext uri="{FF2B5EF4-FFF2-40B4-BE49-F238E27FC236}">
                  <a16:creationId xmlns:a16="http://schemas.microsoft.com/office/drawing/2014/main" id="{C960C3BA-97D8-4E61-A58E-6E1101699038}"/>
                </a:ext>
              </a:extLst>
            </p:cNvPr>
            <p:cNvSpPr/>
            <p:nvPr/>
          </p:nvSpPr>
          <p:spPr>
            <a:xfrm>
              <a:off x="6283233" y="1739828"/>
              <a:ext cx="175392" cy="63032"/>
            </a:xfrm>
            <a:custGeom>
              <a:avLst/>
              <a:gdLst>
                <a:gd name="connsiteX0" fmla="*/ 148248 w 175392"/>
                <a:gd name="connsiteY0" fmla="*/ 63814 h 63031"/>
                <a:gd name="connsiteX1" fmla="*/ 27424 w 175392"/>
                <a:gd name="connsiteY1" fmla="*/ 63795 h 63031"/>
                <a:gd name="connsiteX2" fmla="*/ 27405 w 175392"/>
                <a:gd name="connsiteY2" fmla="*/ 63814 h 63031"/>
                <a:gd name="connsiteX3" fmla="*/ 0 w 175392"/>
                <a:gd name="connsiteY3" fmla="*/ 36409 h 63031"/>
                <a:gd name="connsiteX4" fmla="*/ 175761 w 175392"/>
                <a:gd name="connsiteY4" fmla="*/ 36394 h 63031"/>
                <a:gd name="connsiteX5" fmla="*/ 175776 w 175392"/>
                <a:gd name="connsiteY5" fmla="*/ 36409 h 6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392" h="63031">
                  <a:moveTo>
                    <a:pt x="148248" y="63814"/>
                  </a:moveTo>
                  <a:cubicBezTo>
                    <a:pt x="114889" y="30444"/>
                    <a:pt x="60794" y="30436"/>
                    <a:pt x="27424" y="63795"/>
                  </a:cubicBezTo>
                  <a:cubicBezTo>
                    <a:pt x="27417" y="63802"/>
                    <a:pt x="27412" y="63807"/>
                    <a:pt x="27405" y="63814"/>
                  </a:cubicBezTo>
                  <a:lnTo>
                    <a:pt x="0" y="36409"/>
                  </a:lnTo>
                  <a:cubicBezTo>
                    <a:pt x="48532" y="-12131"/>
                    <a:pt x="127222" y="-12137"/>
                    <a:pt x="175761" y="36394"/>
                  </a:cubicBezTo>
                  <a:cubicBezTo>
                    <a:pt x="175766" y="36399"/>
                    <a:pt x="175771" y="36403"/>
                    <a:pt x="175776" y="36409"/>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36" name="Freeform: Shape 197">
              <a:extLst>
                <a:ext uri="{FF2B5EF4-FFF2-40B4-BE49-F238E27FC236}">
                  <a16:creationId xmlns:a16="http://schemas.microsoft.com/office/drawing/2014/main" id="{A18403EF-E47E-4DC1-B71F-5418D64E857C}"/>
                </a:ext>
              </a:extLst>
            </p:cNvPr>
            <p:cNvSpPr/>
            <p:nvPr/>
          </p:nvSpPr>
          <p:spPr>
            <a:xfrm>
              <a:off x="6214569" y="1642829"/>
              <a:ext cx="312418" cy="91807"/>
            </a:xfrm>
            <a:custGeom>
              <a:avLst/>
              <a:gdLst>
                <a:gd name="connsiteX0" fmla="*/ 285588 w 312417"/>
                <a:gd name="connsiteY0" fmla="*/ 92150 h 91806"/>
                <a:gd name="connsiteX1" fmla="*/ 27405 w 312417"/>
                <a:gd name="connsiteY1" fmla="*/ 92150 h 91806"/>
                <a:gd name="connsiteX2" fmla="*/ 0 w 312417"/>
                <a:gd name="connsiteY2" fmla="*/ 64744 h 91806"/>
                <a:gd name="connsiteX3" fmla="*/ 313103 w 312417"/>
                <a:gd name="connsiteY3" fmla="*/ 64744 h 91806"/>
              </a:gdLst>
              <a:ahLst/>
              <a:cxnLst>
                <a:cxn ang="0">
                  <a:pos x="connsiteX0" y="connsiteY0"/>
                </a:cxn>
                <a:cxn ang="0">
                  <a:pos x="connsiteX1" y="connsiteY1"/>
                </a:cxn>
                <a:cxn ang="0">
                  <a:pos x="connsiteX2" y="connsiteY2"/>
                </a:cxn>
                <a:cxn ang="0">
                  <a:pos x="connsiteX3" y="connsiteY3"/>
                </a:cxn>
              </a:cxnLst>
              <a:rect l="l" t="t" r="r" b="b"/>
              <a:pathLst>
                <a:path w="312417" h="91806">
                  <a:moveTo>
                    <a:pt x="285588" y="92150"/>
                  </a:moveTo>
                  <a:cubicBezTo>
                    <a:pt x="214403" y="20896"/>
                    <a:pt x="98590" y="20979"/>
                    <a:pt x="27405" y="92150"/>
                  </a:cubicBezTo>
                  <a:lnTo>
                    <a:pt x="0" y="64744"/>
                  </a:lnTo>
                  <a:cubicBezTo>
                    <a:pt x="86326" y="-21581"/>
                    <a:pt x="226777" y="-21581"/>
                    <a:pt x="313103" y="64744"/>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37" name="Freeform: Shape 198">
              <a:extLst>
                <a:ext uri="{FF2B5EF4-FFF2-40B4-BE49-F238E27FC236}">
                  <a16:creationId xmlns:a16="http://schemas.microsoft.com/office/drawing/2014/main" id="{FC4AF6BD-3AB6-480A-9890-D13A98DB0244}"/>
                </a:ext>
              </a:extLst>
            </p:cNvPr>
            <p:cNvSpPr/>
            <p:nvPr/>
          </p:nvSpPr>
          <p:spPr>
            <a:xfrm>
              <a:off x="6099167" y="1390195"/>
              <a:ext cx="542620" cy="620725"/>
            </a:xfrm>
            <a:custGeom>
              <a:avLst/>
              <a:gdLst>
                <a:gd name="connsiteX0" fmla="*/ 543785 w 542620"/>
                <a:gd name="connsiteY0" fmla="*/ 621465 h 620724"/>
                <a:gd name="connsiteX1" fmla="*/ 0 w 542620"/>
                <a:gd name="connsiteY1" fmla="*/ 621465 h 620724"/>
                <a:gd name="connsiteX2" fmla="*/ 0 w 542620"/>
                <a:gd name="connsiteY2" fmla="*/ 233053 h 620724"/>
                <a:gd name="connsiteX3" fmla="*/ 271899 w 542620"/>
                <a:gd name="connsiteY3" fmla="*/ 0 h 620724"/>
                <a:gd name="connsiteX4" fmla="*/ 543785 w 542620"/>
                <a:gd name="connsiteY4" fmla="*/ 233053 h 620724"/>
                <a:gd name="connsiteX5" fmla="*/ 38792 w 542620"/>
                <a:gd name="connsiteY5" fmla="*/ 582632 h 620724"/>
                <a:gd name="connsiteX6" fmla="*/ 504952 w 542620"/>
                <a:gd name="connsiteY6" fmla="*/ 582632 h 620724"/>
                <a:gd name="connsiteX7" fmla="*/ 504952 w 542620"/>
                <a:gd name="connsiteY7" fmla="*/ 250907 h 620724"/>
                <a:gd name="connsiteX8" fmla="*/ 271899 w 542620"/>
                <a:gd name="connsiteY8" fmla="*/ 51152 h 620724"/>
                <a:gd name="connsiteX9" fmla="*/ 38792 w 542620"/>
                <a:gd name="connsiteY9" fmla="*/ 250921 h 6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620" h="620724">
                  <a:moveTo>
                    <a:pt x="543785" y="621465"/>
                  </a:moveTo>
                  <a:lnTo>
                    <a:pt x="0" y="621465"/>
                  </a:lnTo>
                  <a:lnTo>
                    <a:pt x="0" y="233053"/>
                  </a:lnTo>
                  <a:lnTo>
                    <a:pt x="271899" y="0"/>
                  </a:lnTo>
                  <a:lnTo>
                    <a:pt x="543785" y="233053"/>
                  </a:lnTo>
                  <a:close/>
                  <a:moveTo>
                    <a:pt x="38792" y="582632"/>
                  </a:moveTo>
                  <a:lnTo>
                    <a:pt x="504952" y="582632"/>
                  </a:lnTo>
                  <a:lnTo>
                    <a:pt x="504952" y="250907"/>
                  </a:lnTo>
                  <a:lnTo>
                    <a:pt x="271899" y="51152"/>
                  </a:lnTo>
                  <a:lnTo>
                    <a:pt x="38792" y="250921"/>
                  </a:lnTo>
                  <a:close/>
                </a:path>
              </a:pathLst>
            </a:custGeom>
            <a:solidFill>
              <a:srgbClr val="3755D7"/>
            </a:solidFill>
            <a:ln w="1363" cap="flat">
              <a:noFill/>
              <a:prstDash val="solid"/>
              <a:miter/>
            </a:ln>
          </p:spPr>
          <p:txBody>
            <a:bodyPr rtlCol="0" anchor="ctr"/>
            <a:lstStyle/>
            <a:p>
              <a:endParaRPr lang="en-GB">
                <a:latin typeface="+mj-lt"/>
              </a:endParaRPr>
            </a:p>
          </p:txBody>
        </p:sp>
      </p:grpSp>
      <p:pic>
        <p:nvPicPr>
          <p:cNvPr id="39" name="Picture 2" descr="TDC bil">
            <a:extLst>
              <a:ext uri="{FF2B5EF4-FFF2-40B4-BE49-F238E27FC236}">
                <a16:creationId xmlns:a16="http://schemas.microsoft.com/office/drawing/2014/main" id="{7005A15C-2BA4-4590-ABFE-8CBC95C04A2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371" t="-344" r="16314" b="6252"/>
          <a:stretch/>
        </p:blipFill>
        <p:spPr bwMode="auto">
          <a:xfrm>
            <a:off x="7901181" y="886532"/>
            <a:ext cx="3570515" cy="5084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0498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9FAFC2-6193-4542-BD0A-B70232FDA1B2}"/>
              </a:ext>
            </a:extLst>
          </p:cNvPr>
          <p:cNvSpPr>
            <a:spLocks noGrp="1"/>
          </p:cNvSpPr>
          <p:nvPr>
            <p:ph type="title"/>
          </p:nvPr>
        </p:nvSpPr>
        <p:spPr>
          <a:xfrm>
            <a:off x="1935126" y="395628"/>
            <a:ext cx="9668874" cy="319318"/>
          </a:xfrm>
        </p:spPr>
        <p:txBody>
          <a:bodyPr/>
          <a:lstStyle/>
          <a:p>
            <a:r>
              <a:rPr lang="da-DK" dirty="0"/>
              <a:t>4</a:t>
            </a:r>
            <a:r>
              <a:rPr lang="da-DK"/>
              <a:t>. </a:t>
            </a:r>
            <a:r>
              <a:rPr lang="da-DK" dirty="0"/>
              <a:t>Færdigmelding</a:t>
            </a:r>
          </a:p>
        </p:txBody>
      </p:sp>
      <p:sp>
        <p:nvSpPr>
          <p:cNvPr id="4" name="Pladsholder til tekst 3">
            <a:extLst>
              <a:ext uri="{FF2B5EF4-FFF2-40B4-BE49-F238E27FC236}">
                <a16:creationId xmlns:a16="http://schemas.microsoft.com/office/drawing/2014/main" id="{B25B56AA-52F6-4831-B512-5317CCECF74B}"/>
              </a:ext>
            </a:extLst>
          </p:cNvPr>
          <p:cNvSpPr>
            <a:spLocks noGrp="1"/>
          </p:cNvSpPr>
          <p:nvPr>
            <p:ph type="body" sz="quarter" idx="26"/>
          </p:nvPr>
        </p:nvSpPr>
        <p:spPr/>
        <p:txBody>
          <a:bodyPr/>
          <a:lstStyle/>
          <a:p>
            <a:endParaRPr lang="da-DK"/>
          </a:p>
        </p:txBody>
      </p:sp>
      <p:sp>
        <p:nvSpPr>
          <p:cNvPr id="5" name="Pil: pentagon 4">
            <a:extLst>
              <a:ext uri="{FF2B5EF4-FFF2-40B4-BE49-F238E27FC236}">
                <a16:creationId xmlns:a16="http://schemas.microsoft.com/office/drawing/2014/main" id="{95FACEF1-B26B-47ED-BFD1-25E8BACA6F4F}"/>
              </a:ext>
            </a:extLst>
          </p:cNvPr>
          <p:cNvSpPr/>
          <p:nvPr/>
        </p:nvSpPr>
        <p:spPr>
          <a:xfrm rot="5400000">
            <a:off x="-2035634" y="2759708"/>
            <a:ext cx="6214335" cy="967068"/>
          </a:xfrm>
          <a:prstGeom prst="homePlate">
            <a:avLst/>
          </a:prstGeom>
          <a:solidFill>
            <a:schemeClr val="accent4">
              <a:lumMod val="9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sp>
        <p:nvSpPr>
          <p:cNvPr id="15" name="Tekstfelt 14">
            <a:extLst>
              <a:ext uri="{FF2B5EF4-FFF2-40B4-BE49-F238E27FC236}">
                <a16:creationId xmlns:a16="http://schemas.microsoft.com/office/drawing/2014/main" id="{5C6DD4C4-D632-493C-B91F-DE16C45542BA}"/>
              </a:ext>
            </a:extLst>
          </p:cNvPr>
          <p:cNvSpPr txBox="1"/>
          <p:nvPr/>
        </p:nvSpPr>
        <p:spPr bwMode="gray">
          <a:xfrm>
            <a:off x="707615" y="2226665"/>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Reetablering</a:t>
            </a:r>
          </a:p>
        </p:txBody>
      </p:sp>
      <p:sp>
        <p:nvSpPr>
          <p:cNvPr id="16" name="Tekstfelt 15">
            <a:extLst>
              <a:ext uri="{FF2B5EF4-FFF2-40B4-BE49-F238E27FC236}">
                <a16:creationId xmlns:a16="http://schemas.microsoft.com/office/drawing/2014/main" id="{108FE63F-730B-4CCE-8BE8-22D8CFBF0F6C}"/>
              </a:ext>
            </a:extLst>
          </p:cNvPr>
          <p:cNvSpPr txBox="1"/>
          <p:nvPr/>
        </p:nvSpPr>
        <p:spPr bwMode="gray">
          <a:xfrm>
            <a:off x="690619" y="4305502"/>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Gennemgang</a:t>
            </a:r>
          </a:p>
        </p:txBody>
      </p:sp>
      <p:sp>
        <p:nvSpPr>
          <p:cNvPr id="17" name="Pladsholder til indhold 16">
            <a:extLst>
              <a:ext uri="{FF2B5EF4-FFF2-40B4-BE49-F238E27FC236}">
                <a16:creationId xmlns:a16="http://schemas.microsoft.com/office/drawing/2014/main" id="{17C800EE-F8A1-4FA9-9116-66B8493340F6}"/>
              </a:ext>
            </a:extLst>
          </p:cNvPr>
          <p:cNvSpPr txBox="1">
            <a:spLocks noGrp="1"/>
          </p:cNvSpPr>
          <p:nvPr>
            <p:ph idx="1"/>
          </p:nvPr>
        </p:nvSpPr>
        <p:spPr>
          <a:xfrm>
            <a:off x="1845904" y="951429"/>
            <a:ext cx="5953256" cy="4367349"/>
          </a:xfrm>
          <a:prstGeom prst="rect">
            <a:avLst/>
          </a:prstGeom>
          <a:noFill/>
        </p:spPr>
        <p:txBody>
          <a:bodyPr wrap="square" lIns="0" tIns="0" rIns="0" bIns="0" rtlCol="0">
            <a:spAutoFit/>
          </a:bodyPr>
          <a:lstStyle/>
          <a:p>
            <a:pPr marL="0" indent="0">
              <a:buNone/>
            </a:pPr>
            <a:r>
              <a:rPr lang="da-DK" sz="1800" dirty="0"/>
              <a:t>Reetablering vil ske løbende i takt med fiberanlægget bliver lavet.</a:t>
            </a:r>
          </a:p>
          <a:p>
            <a:pPr marL="0" indent="0">
              <a:buNone/>
            </a:pPr>
            <a:endParaRPr lang="da-DK" sz="1800" dirty="0"/>
          </a:p>
          <a:p>
            <a:pPr marL="0" indent="0">
              <a:buNone/>
            </a:pPr>
            <a:r>
              <a:rPr lang="da-DK" sz="1800" dirty="0"/>
              <a:t>Såfremt der er græsplæne, belægning eller andet, der ikke er reetableret tilfredsstillende, kan dette tages ved afleveringsgennemgangen. TDC NET vil efterfølgende rette op.</a:t>
            </a:r>
          </a:p>
          <a:p>
            <a:pPr marL="0" indent="0">
              <a:buNone/>
            </a:pPr>
            <a:endParaRPr lang="da-DK" sz="1800" dirty="0"/>
          </a:p>
          <a:p>
            <a:pPr marL="0" indent="0">
              <a:buNone/>
            </a:pPr>
            <a:r>
              <a:rPr lang="da-DK" sz="1800" dirty="0"/>
              <a:t>Afleveringsgennemgangen sker efter fiberanlægget er færdigt. Her vil en projektleder fra TDC NET og en teknisk kontaktperson fra afdelingen/foreningen, gennemgå det udførte arbejde. Efterfølgende vil der blive udarbejdet et færdigmeldingsdokument som fremsendes til afdelingen/foreningen.</a:t>
            </a:r>
          </a:p>
          <a:p>
            <a:pPr marL="0" indent="0">
              <a:buNone/>
            </a:pPr>
            <a:endParaRPr lang="da-DK" sz="1800" dirty="0"/>
          </a:p>
          <a:p>
            <a:pPr marL="0" indent="0" algn="l">
              <a:lnSpc>
                <a:spcPct val="90000"/>
              </a:lnSpc>
              <a:buClr>
                <a:schemeClr val="accent1"/>
              </a:buClr>
              <a:buSzPct val="110000"/>
              <a:buNone/>
            </a:pPr>
            <a:endParaRPr lang="da-DK" sz="1200" dirty="0"/>
          </a:p>
        </p:txBody>
      </p:sp>
      <p:pic>
        <p:nvPicPr>
          <p:cNvPr id="21" name="Grafik 20">
            <a:extLst>
              <a:ext uri="{FF2B5EF4-FFF2-40B4-BE49-F238E27FC236}">
                <a16:creationId xmlns:a16="http://schemas.microsoft.com/office/drawing/2014/main" id="{D4171373-7CF9-4407-9F3E-7F72BD7BB10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0619" y="1362948"/>
            <a:ext cx="933700" cy="933700"/>
          </a:xfrm>
          <a:prstGeom prst="rect">
            <a:avLst/>
          </a:prstGeom>
        </p:spPr>
      </p:pic>
      <p:pic>
        <p:nvPicPr>
          <p:cNvPr id="22" name="Grafik 21">
            <a:extLst>
              <a:ext uri="{FF2B5EF4-FFF2-40B4-BE49-F238E27FC236}">
                <a16:creationId xmlns:a16="http://schemas.microsoft.com/office/drawing/2014/main" id="{A5986889-50CC-40D6-912C-1AB7DF891A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0619" y="3573279"/>
            <a:ext cx="732223" cy="732223"/>
          </a:xfrm>
          <a:prstGeom prst="rect">
            <a:avLst/>
          </a:prstGeom>
        </p:spPr>
      </p:pic>
    </p:spTree>
    <p:extLst>
      <p:ext uri="{BB962C8B-B14F-4D97-AF65-F5344CB8AC3E}">
        <p14:creationId xmlns:p14="http://schemas.microsoft.com/office/powerpoint/2010/main" val="1280011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45E7AF-6C60-42F5-8FFA-5BEEBBCD4E1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7" name="Object 6" hidden="1">
                        <a:extLst>
                          <a:ext uri="{FF2B5EF4-FFF2-40B4-BE49-F238E27FC236}">
                            <a16:creationId xmlns:a16="http://schemas.microsoft.com/office/drawing/2014/main" id="{3C45E7AF-6C60-42F5-8FFA-5BEEBBCD4E1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spAutoFit/>
          </a:bodyPr>
          <a:lstStyle/>
          <a:p>
            <a:r>
              <a:rPr lang="da-DK"/>
              <a:t>Agenda</a:t>
            </a:r>
            <a:endParaRPr lang="da-DK" dirty="0"/>
          </a:p>
        </p:txBody>
      </p:sp>
      <p:graphicFrame>
        <p:nvGraphicFramePr>
          <p:cNvPr id="4" name="Table 3"/>
          <p:cNvGraphicFramePr>
            <a:graphicFrameLocks noGrp="1"/>
          </p:cNvGraphicFramePr>
          <p:nvPr>
            <p:custDataLst>
              <p:custData r:id="rId4"/>
              <p:tags r:id="rId5"/>
            </p:custDataLst>
            <p:extLst>
              <p:ext uri="{D42A27DB-BD31-4B8C-83A1-F6EECF244321}">
                <p14:modId xmlns:p14="http://schemas.microsoft.com/office/powerpoint/2010/main" val="2493727974"/>
              </p:ext>
            </p:extLst>
          </p:nvPr>
        </p:nvGraphicFramePr>
        <p:xfrm>
          <a:off x="1070330" y="1594332"/>
          <a:ext cx="7461834" cy="2672050"/>
        </p:xfrm>
        <a:graphic>
          <a:graphicData uri="http://schemas.openxmlformats.org/drawingml/2006/table">
            <a:tbl>
              <a:tblPr firstRow="1" bandRow="1">
                <a:tableStyleId>{2D5ABB26-0587-4C30-8999-92F81FD0307C}</a:tableStyleId>
              </a:tblPr>
              <a:tblGrid>
                <a:gridCol w="7461834">
                  <a:extLst>
                    <a:ext uri="{9D8B030D-6E8A-4147-A177-3AD203B41FA5}">
                      <a16:colId xmlns:a16="http://schemas.microsoft.com/office/drawing/2014/main" val="1367209598"/>
                    </a:ext>
                  </a:extLst>
                </a:gridCol>
              </a:tblGrid>
              <a:tr h="534410">
                <a:tc>
                  <a:txBody>
                    <a:bodyPr/>
                    <a:lstStyle/>
                    <a:p>
                      <a:pPr marL="539750" lvl="0" indent="-539750" algn="l" rtl="0" eaLnBrk="1" fontAlgn="auto" hangingPunct="1">
                        <a:lnSpc>
                          <a:spcPct val="100000"/>
                        </a:lnSpc>
                        <a:spcBef>
                          <a:spcPts val="0"/>
                        </a:spcBef>
                        <a:spcAft>
                          <a:spcPts val="0"/>
                        </a:spcAft>
                        <a:buClrTx/>
                        <a:buFont typeface="+mj-lt"/>
                        <a:buAutoNum type="arabicPeriod"/>
                      </a:pPr>
                      <a:r>
                        <a:rPr lang="da-DK" sz="2400" b="1" baseline="0" noProof="0" dirty="0">
                          <a:solidFill>
                            <a:srgbClr val="002060"/>
                          </a:solidFill>
                          <a:latin typeface="TDC NET" panose="00000500000000000000" pitchFamily="2" charset="0"/>
                          <a:ea typeface="+mn-ea"/>
                          <a:cs typeface="+mn-cs"/>
                          <a:sym typeface="TDC NET" panose="00000500000000000000" pitchFamily="2" charset="0"/>
                        </a:rPr>
                        <a:t>TDC NET introduktion</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442068709"/>
                  </a:ext>
                </a:extLst>
              </a:tr>
              <a:tr h="534410">
                <a:tc>
                  <a:txBody>
                    <a:bodyPr/>
                    <a:lstStyle/>
                    <a:p>
                      <a:pPr marL="539750" lvl="0" indent="-539750" algn="l" rtl="0" eaLnBrk="1" fontAlgn="auto" hangingPunct="1">
                        <a:lnSpc>
                          <a:spcPct val="100000"/>
                        </a:lnSpc>
                        <a:spcBef>
                          <a:spcPts val="0"/>
                        </a:spcBef>
                        <a:spcAft>
                          <a:spcPts val="0"/>
                        </a:spcAft>
                        <a:buClrTx/>
                        <a:buFont typeface="+mj-lt"/>
                        <a:buAutoNum type="arabicPeriod" startAt="2"/>
                      </a:pPr>
                      <a:r>
                        <a:rPr lang="da-DK" sz="2400" b="1" baseline="0" noProof="0" dirty="0">
                          <a:solidFill>
                            <a:schemeClr val="accent2"/>
                          </a:solidFill>
                          <a:latin typeface="TDC NET" panose="00000500000000000000" pitchFamily="2" charset="0"/>
                          <a:ea typeface="+mn-ea"/>
                          <a:cs typeface="+mn-cs"/>
                          <a:sym typeface="TDC NET" panose="00000500000000000000" pitchFamily="2" charset="0"/>
                        </a:rPr>
                        <a:t>Hvorfor vælge tilslutning til TDC NET Fiber?</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1450701"/>
                  </a:ext>
                </a:extLst>
              </a:tr>
              <a:tr h="534410">
                <a:tc>
                  <a:txBody>
                    <a:bodyPr/>
                    <a:lstStyle/>
                    <a:p>
                      <a:pPr marL="517525" lvl="0" indent="-517525" algn="l" rtl="0" eaLnBrk="1" fontAlgn="auto" hangingPunct="1">
                        <a:lnSpc>
                          <a:spcPct val="100000"/>
                        </a:lnSpc>
                        <a:spcBef>
                          <a:spcPts val="0"/>
                        </a:spcBef>
                        <a:spcAft>
                          <a:spcPts val="0"/>
                        </a:spcAft>
                        <a:buClrTx/>
                        <a:buFont typeface="+mj-lt"/>
                        <a:buAutoNum type="arabicPeriod" startAt="3"/>
                      </a:pPr>
                      <a:r>
                        <a:rPr lang="da-DK" sz="2400" b="1" baseline="0" noProof="0" dirty="0">
                          <a:solidFill>
                            <a:schemeClr val="accent2"/>
                          </a:solidFill>
                          <a:latin typeface="TDC NET" panose="00000500000000000000" pitchFamily="2" charset="0"/>
                          <a:ea typeface="+mn-ea"/>
                          <a:cs typeface="+mn-cs"/>
                          <a:sym typeface="TDC NET" panose="00000500000000000000" pitchFamily="2" charset="0"/>
                        </a:rPr>
                        <a:t>Hvordan med det praktiske?</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12231103"/>
                  </a:ext>
                </a:extLst>
              </a:tr>
              <a:tr h="534410">
                <a:tc>
                  <a:txBody>
                    <a:bodyPr/>
                    <a:lstStyle/>
                    <a:p>
                      <a:pPr marL="517525" marR="0" lvl="0" indent="-517525"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da-DK" sz="2400" b="1" i="0" u="none" strike="noStrike" kern="1200" cap="none" spc="0" normalizeH="0" baseline="0" noProof="0" dirty="0">
                          <a:ln>
                            <a:noFill/>
                          </a:ln>
                          <a:solidFill>
                            <a:schemeClr val="accent1"/>
                          </a:solidFill>
                          <a:effectLst/>
                          <a:uLnTx/>
                          <a:uFillTx/>
                          <a:latin typeface="TDC NET" panose="00000500000000000000" pitchFamily="2" charset="0"/>
                          <a:ea typeface="+mn-ea"/>
                          <a:cs typeface="+mn-cs"/>
                          <a:sym typeface="TDC NET" panose="00000500000000000000" pitchFamily="2" charset="0"/>
                        </a:rPr>
                        <a:t>Opsummering, spørgsmål</a:t>
                      </a:r>
                    </a:p>
                  </a:txBody>
                  <a:tcPr marL="68580" marR="68580" marT="34290" marB="34290" anchor="ctr">
                    <a:lnL w="0">
                      <a:solidFill>
                        <a:srgbClr val="FFFFFF"/>
                      </a:solidFill>
                    </a:lnL>
                    <a:lnR w="0">
                      <a:solidFill>
                        <a:srgbClr val="FFFFFF"/>
                      </a:solidFill>
                    </a:lnR>
                    <a:lnT w="0">
                      <a:solidFill>
                        <a:srgbClr val="FFFFFF"/>
                      </a:solidFill>
                    </a:lnT>
                    <a:lnB w="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96943"/>
                  </a:ext>
                </a:extLst>
              </a:tr>
              <a:tr h="53441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a-DK" sz="2400" b="1" i="0" u="none" strike="noStrike" kern="1200" cap="none" spc="0" normalizeH="0" baseline="0" noProof="0" dirty="0">
                        <a:ln>
                          <a:noFill/>
                        </a:ln>
                        <a:solidFill>
                          <a:schemeClr val="accent2">
                            <a:lumMod val="100000"/>
                          </a:schemeClr>
                        </a:solidFill>
                        <a:effectLst/>
                        <a:uLnTx/>
                        <a:uFillTx/>
                        <a:latin typeface="TDC NET" panose="00000500000000000000" pitchFamily="2" charset="0"/>
                        <a:ea typeface="+mn-ea"/>
                        <a:cs typeface="+mn-cs"/>
                        <a:sym typeface="TDC NET" panose="00000500000000000000" pitchFamily="2" charset="0"/>
                      </a:endParaRPr>
                    </a:p>
                  </a:txBody>
                  <a:tcPr marL="68580" marR="68580" marT="34290" marB="34290" anchor="ctr">
                    <a:lnL w="0">
                      <a:solidFill>
                        <a:srgbClr val="FFFFFF"/>
                      </a:solidFill>
                    </a:lnL>
                    <a:lnR w="0">
                      <a:solidFill>
                        <a:srgbClr val="FFFFFF"/>
                      </a:solidFill>
                    </a:lnR>
                    <a:lnT w="0" cap="flat" cmpd="sng" algn="ctr">
                      <a:solidFill>
                        <a:srgbClr val="FFFFFF"/>
                      </a:solidFill>
                      <a:prstDash val="solid"/>
                      <a:round/>
                      <a:headEnd type="none" w="med" len="med"/>
                      <a:tailEnd type="none" w="med" len="med"/>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126920813"/>
                  </a:ext>
                </a:extLst>
              </a:tr>
            </a:tbl>
          </a:graphicData>
        </a:graphic>
      </p:graphicFrame>
      <p:sp>
        <p:nvSpPr>
          <p:cNvPr id="8" name="Grafik 267">
            <a:extLst>
              <a:ext uri="{FF2B5EF4-FFF2-40B4-BE49-F238E27FC236}">
                <a16:creationId xmlns:a16="http://schemas.microsoft.com/office/drawing/2014/main" id="{7DA04FCF-2F5F-4CE9-921B-692692BE2829}"/>
              </a:ext>
            </a:extLst>
          </p:cNvPr>
          <p:cNvSpPr/>
          <p:nvPr>
            <p:custDataLst>
              <p:tags r:id="rId6"/>
            </p:custDataLst>
          </p:nvPr>
        </p:nvSpPr>
        <p:spPr>
          <a:xfrm>
            <a:off x="588000" y="3272980"/>
            <a:ext cx="412287" cy="312039"/>
          </a:xfrm>
          <a:custGeom>
            <a:avLst/>
            <a:gdLst>
              <a:gd name="connsiteX0" fmla="*/ 257157 w 412287"/>
              <a:gd name="connsiteY0" fmla="*/ 0 h 312039"/>
              <a:gd name="connsiteX1" fmla="*/ 228198 w 412287"/>
              <a:gd name="connsiteY1" fmla="*/ 28959 h 312039"/>
              <a:gd name="connsiteX2" fmla="*/ 335675 w 412287"/>
              <a:gd name="connsiteY2" fmla="*/ 136422 h 312039"/>
              <a:gd name="connsiteX3" fmla="*/ 0 w 412287"/>
              <a:gd name="connsiteY3" fmla="*/ 136422 h 312039"/>
              <a:gd name="connsiteX4" fmla="*/ 0 w 412287"/>
              <a:gd name="connsiteY4" fmla="*/ 177354 h 312039"/>
              <a:gd name="connsiteX5" fmla="*/ 334207 w 412287"/>
              <a:gd name="connsiteY5" fmla="*/ 177354 h 312039"/>
              <a:gd name="connsiteX6" fmla="*/ 228227 w 412287"/>
              <a:gd name="connsiteY6" fmla="*/ 283363 h 312039"/>
              <a:gd name="connsiteX7" fmla="*/ 257185 w 412287"/>
              <a:gd name="connsiteY7" fmla="*/ 312322 h 312039"/>
              <a:gd name="connsiteX8" fmla="*/ 413318 w 412287"/>
              <a:gd name="connsiteY8" fmla="*/ 156147 h 312039"/>
              <a:gd name="connsiteX9" fmla="*/ 257157 w 412287"/>
              <a:gd name="connsiteY9" fmla="*/ 0 h 31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287" h="312039">
                <a:moveTo>
                  <a:pt x="257157" y="0"/>
                </a:moveTo>
                <a:lnTo>
                  <a:pt x="228198" y="28959"/>
                </a:lnTo>
                <a:lnTo>
                  <a:pt x="335675" y="136422"/>
                </a:lnTo>
                <a:lnTo>
                  <a:pt x="0" y="136422"/>
                </a:lnTo>
                <a:lnTo>
                  <a:pt x="0" y="177354"/>
                </a:lnTo>
                <a:lnTo>
                  <a:pt x="334207" y="177354"/>
                </a:lnTo>
                <a:lnTo>
                  <a:pt x="228227" y="283363"/>
                </a:lnTo>
                <a:lnTo>
                  <a:pt x="257185" y="312322"/>
                </a:lnTo>
                <a:lnTo>
                  <a:pt x="413318" y="156147"/>
                </a:lnTo>
                <a:lnTo>
                  <a:pt x="257157" y="0"/>
                </a:lnTo>
                <a:close/>
              </a:path>
            </a:pathLst>
          </a:custGeom>
          <a:solidFill>
            <a:srgbClr val="3755D7"/>
          </a:solidFill>
          <a:ln w="1401" cap="flat">
            <a:noFill/>
            <a:prstDash val="solid"/>
            <a:miter/>
          </a:ln>
        </p:spPr>
        <p:txBody>
          <a:bodyPr rtlCol="0" anchor="ctr"/>
          <a:lstStyle/>
          <a:p>
            <a:endParaRPr lang="da-DK" dirty="0"/>
          </a:p>
        </p:txBody>
      </p:sp>
    </p:spTree>
    <p:custDataLst>
      <p:custData r:id="rId1"/>
      <p:tags r:id="rId2"/>
    </p:custDataLst>
    <p:extLst>
      <p:ext uri="{BB962C8B-B14F-4D97-AF65-F5344CB8AC3E}">
        <p14:creationId xmlns:p14="http://schemas.microsoft.com/office/powerpoint/2010/main" val="28831844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BD4196-EF13-466F-A1BC-13A8AFF0ED8C}"/>
              </a:ext>
            </a:extLst>
          </p:cNvPr>
          <p:cNvSpPr>
            <a:spLocks noGrp="1"/>
          </p:cNvSpPr>
          <p:nvPr>
            <p:ph type="title"/>
          </p:nvPr>
        </p:nvSpPr>
        <p:spPr/>
        <p:txBody>
          <a:bodyPr/>
          <a:lstStyle/>
          <a:p>
            <a:r>
              <a:rPr lang="da-DK" dirty="0"/>
              <a:t>Opsummering</a:t>
            </a:r>
          </a:p>
        </p:txBody>
      </p:sp>
      <p:sp>
        <p:nvSpPr>
          <p:cNvPr id="3" name="Pladsholder til tekst 2">
            <a:extLst>
              <a:ext uri="{FF2B5EF4-FFF2-40B4-BE49-F238E27FC236}">
                <a16:creationId xmlns:a16="http://schemas.microsoft.com/office/drawing/2014/main" id="{CCCF4C9C-0909-4330-9EE6-0FF3C400EB8E}"/>
              </a:ext>
            </a:extLst>
          </p:cNvPr>
          <p:cNvSpPr>
            <a:spLocks noGrp="1"/>
          </p:cNvSpPr>
          <p:nvPr>
            <p:ph type="body" sz="quarter" idx="19"/>
          </p:nvPr>
        </p:nvSpPr>
        <p:spPr/>
        <p:txBody>
          <a:bodyPr/>
          <a:lstStyle/>
          <a:p>
            <a:pPr marL="389250" indent="-342900">
              <a:buFont typeface="Arial" panose="020B0604020202020204" pitchFamily="34" charset="0"/>
              <a:buChar char="•"/>
            </a:pPr>
            <a:r>
              <a:rPr lang="da-DK" sz="2000" b="0" dirty="0"/>
              <a:t>TDC NET har indgået aftale om, at etablere fibernet samt opsætning af fiberstik i A/B Vegavænget. </a:t>
            </a:r>
          </a:p>
          <a:p>
            <a:pPr marL="389250" indent="-342900">
              <a:buFont typeface="Arial" panose="020B0604020202020204" pitchFamily="34" charset="0"/>
              <a:buChar char="•"/>
            </a:pPr>
            <a:r>
              <a:rPr lang="da-DK" sz="2000" b="0" dirty="0"/>
              <a:t>Fiberstikket har følgende dimensioner: </a:t>
            </a:r>
            <a:r>
              <a:rPr lang="da-DK" sz="2000" b="0" dirty="0" err="1"/>
              <a:t>BxHxD</a:t>
            </a:r>
            <a:r>
              <a:rPr lang="da-DK" sz="2000" b="0" dirty="0"/>
              <a:t> 110x110x18 mm og kan placeres maksimalt 12 meter fra indføringspunktet udefra. Fiberstikket skal placeres i nærheden af 230v strømudtag. </a:t>
            </a:r>
          </a:p>
          <a:p>
            <a:pPr marL="389250" indent="-342900">
              <a:buFont typeface="Arial" panose="020B0604020202020204" pitchFamily="34" charset="0"/>
              <a:buChar char="•"/>
            </a:pPr>
            <a:r>
              <a:rPr lang="da-DK" sz="2000" b="0" dirty="0"/>
              <a:t>TDC NET leverer et reguleret og åbent fibernet. Dvs. at alle udbydere kan vælge at tilbyde deres produkter via nettet, og alle har samme vilkår. </a:t>
            </a:r>
            <a:br>
              <a:rPr lang="da-DK" sz="2000" b="0" dirty="0"/>
            </a:br>
            <a:r>
              <a:rPr lang="da-DK" sz="2000" b="0" dirty="0"/>
              <a:t>P.t. er der 13 udbydere i nettet.</a:t>
            </a:r>
          </a:p>
          <a:p>
            <a:pPr marL="389250" indent="-342900">
              <a:buFont typeface="Arial" panose="020B0604020202020204" pitchFamily="34" charset="0"/>
              <a:buChar char="•"/>
            </a:pPr>
            <a:r>
              <a:rPr lang="da-DK" sz="2000" b="0" dirty="0"/>
              <a:t>TDC NET har ingen eksklusivret på kabling eller levering.</a:t>
            </a:r>
          </a:p>
          <a:p>
            <a:pPr marL="389250" indent="-342900">
              <a:buFont typeface="Arial" panose="020B0604020202020204" pitchFamily="34" charset="0"/>
              <a:buChar char="•"/>
            </a:pPr>
            <a:r>
              <a:rPr lang="da-DK" sz="2000" b="0" dirty="0"/>
              <a:t>Der er ingen krav om aktivering. De enkelte beboere kan selv vælge om de vil fortsætte med deres eksisterende TV og bredbånds løsninger, eller om de vil bestille produkter fra en udbyder på fibernettet.</a:t>
            </a:r>
          </a:p>
          <a:p>
            <a:pPr marL="389250" indent="-342900">
              <a:buFont typeface="Arial" panose="020B0604020202020204" pitchFamily="34" charset="0"/>
              <a:buChar char="•"/>
            </a:pPr>
            <a:r>
              <a:rPr lang="da-DK" sz="2000" b="0" dirty="0"/>
              <a:t>Placering af udstyr og føringsveje i fællesarealer aftales mellem TDC NET og AB Vegavænget.</a:t>
            </a:r>
          </a:p>
          <a:p>
            <a:pPr marL="389250" indent="-342900">
              <a:buFont typeface="Arial" panose="020B0604020202020204" pitchFamily="34" charset="0"/>
              <a:buChar char="•"/>
            </a:pPr>
            <a:r>
              <a:rPr lang="da-DK" sz="2000" b="0" dirty="0"/>
              <a:t>Udstyr i fællesarealer har intet strømforbrug.</a:t>
            </a:r>
          </a:p>
          <a:p>
            <a:pPr marL="389250" indent="-342900">
              <a:buFont typeface="Arial" panose="020B0604020202020204" pitchFamily="34" charset="0"/>
              <a:buChar char="•"/>
            </a:pPr>
            <a:r>
              <a:rPr lang="da-DK" sz="2000" b="0" dirty="0"/>
              <a:t>Ingen omkostninger for foreningen.</a:t>
            </a:r>
          </a:p>
          <a:p>
            <a:pPr marL="389250" indent="-342900">
              <a:buFont typeface="Arial" panose="020B0604020202020204" pitchFamily="34" charset="0"/>
              <a:buChar char="•"/>
            </a:pPr>
            <a:endParaRPr lang="da-DK" dirty="0"/>
          </a:p>
        </p:txBody>
      </p:sp>
    </p:spTree>
    <p:extLst>
      <p:ext uri="{BB962C8B-B14F-4D97-AF65-F5344CB8AC3E}">
        <p14:creationId xmlns:p14="http://schemas.microsoft.com/office/powerpoint/2010/main" val="33203302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37DB417B-4C9D-9CBC-AB57-D687EB4F3264}"/>
              </a:ext>
            </a:extLst>
          </p:cNvPr>
          <p:cNvPicPr>
            <a:picLocks noChangeAspect="1"/>
          </p:cNvPicPr>
          <p:nvPr/>
        </p:nvPicPr>
        <p:blipFill>
          <a:blip r:embed="rId2"/>
          <a:stretch>
            <a:fillRect/>
          </a:stretch>
        </p:blipFill>
        <p:spPr>
          <a:xfrm>
            <a:off x="255732" y="1914614"/>
            <a:ext cx="11342688" cy="3941584"/>
          </a:xfrm>
          <a:prstGeom prst="rect">
            <a:avLst/>
          </a:prstGeom>
          <a:noFill/>
        </p:spPr>
      </p:pic>
      <p:sp>
        <p:nvSpPr>
          <p:cNvPr id="6" name="Tekstfelt 5">
            <a:extLst>
              <a:ext uri="{FF2B5EF4-FFF2-40B4-BE49-F238E27FC236}">
                <a16:creationId xmlns:a16="http://schemas.microsoft.com/office/drawing/2014/main" id="{E312FE64-79D5-8782-B782-E198BF0BC761}"/>
              </a:ext>
            </a:extLst>
          </p:cNvPr>
          <p:cNvSpPr txBox="1"/>
          <p:nvPr/>
        </p:nvSpPr>
        <p:spPr>
          <a:xfrm>
            <a:off x="550718" y="446809"/>
            <a:ext cx="7637318" cy="387798"/>
          </a:xfrm>
          <a:prstGeom prst="rect">
            <a:avLst/>
          </a:prstGeom>
          <a:noFill/>
        </p:spPr>
        <p:txBody>
          <a:bodyPr wrap="square" lIns="0" tIns="0" rIns="0" bIns="0" rtlCol="0">
            <a:spAutoFit/>
          </a:bodyPr>
          <a:lstStyle/>
          <a:p>
            <a:pPr marL="216000" indent="-216000" algn="l">
              <a:lnSpc>
                <a:spcPct val="90000"/>
              </a:lnSpc>
              <a:buClr>
                <a:schemeClr val="accent1"/>
              </a:buClr>
              <a:buSzPct val="110000"/>
              <a:buFont typeface="Arial" panose="020B0604020202020204" pitchFamily="34" charset="0"/>
              <a:buChar char="●"/>
            </a:pPr>
            <a:r>
              <a:rPr lang="da-DK" sz="2800" dirty="0">
                <a:solidFill>
                  <a:schemeClr val="accent2"/>
                </a:solidFill>
              </a:rPr>
              <a:t>Udbydere på TDC NET Fiber</a:t>
            </a:r>
            <a:endParaRPr lang="da-DK" sz="1400" dirty="0">
              <a:solidFill>
                <a:schemeClr val="accent2"/>
              </a:solidFill>
            </a:endParaRPr>
          </a:p>
        </p:txBody>
      </p:sp>
    </p:spTree>
    <p:extLst>
      <p:ext uri="{BB962C8B-B14F-4D97-AF65-F5344CB8AC3E}">
        <p14:creationId xmlns:p14="http://schemas.microsoft.com/office/powerpoint/2010/main" val="2245450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Spørgsmål kontur">
            <a:extLst>
              <a:ext uri="{FF2B5EF4-FFF2-40B4-BE49-F238E27FC236}">
                <a16:creationId xmlns:a16="http://schemas.microsoft.com/office/drawing/2014/main" id="{25046BDB-82C9-48DB-967D-B4A308ACD7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55557" y="1023553"/>
            <a:ext cx="3986015" cy="3986015"/>
          </a:xfrm>
          <a:prstGeom prst="rect">
            <a:avLst/>
          </a:prstGeom>
        </p:spPr>
      </p:pic>
    </p:spTree>
    <p:extLst>
      <p:ext uri="{BB962C8B-B14F-4D97-AF65-F5344CB8AC3E}">
        <p14:creationId xmlns:p14="http://schemas.microsoft.com/office/powerpoint/2010/main" val="29384789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45E7AF-6C60-42F5-8FFA-5BEEBBCD4E1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7" name="Object 6" hidden="1">
                        <a:extLst>
                          <a:ext uri="{FF2B5EF4-FFF2-40B4-BE49-F238E27FC236}">
                            <a16:creationId xmlns:a16="http://schemas.microsoft.com/office/drawing/2014/main" id="{3C45E7AF-6C60-42F5-8FFA-5BEEBBCD4E1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spAutoFit/>
          </a:bodyPr>
          <a:lstStyle/>
          <a:p>
            <a:r>
              <a:rPr lang="da-DK"/>
              <a:t>Agenda</a:t>
            </a:r>
            <a:endParaRPr lang="da-DK" dirty="0"/>
          </a:p>
        </p:txBody>
      </p:sp>
      <p:graphicFrame>
        <p:nvGraphicFramePr>
          <p:cNvPr id="4" name="Table 3"/>
          <p:cNvGraphicFramePr>
            <a:graphicFrameLocks noGrp="1"/>
          </p:cNvGraphicFramePr>
          <p:nvPr>
            <p:custDataLst>
              <p:custData r:id="rId4"/>
              <p:tags r:id="rId5"/>
            </p:custDataLst>
            <p:extLst>
              <p:ext uri="{D42A27DB-BD31-4B8C-83A1-F6EECF244321}">
                <p14:modId xmlns:p14="http://schemas.microsoft.com/office/powerpoint/2010/main" val="384519046"/>
              </p:ext>
            </p:extLst>
          </p:nvPr>
        </p:nvGraphicFramePr>
        <p:xfrm>
          <a:off x="1070330" y="1594332"/>
          <a:ext cx="7461834" cy="2672050"/>
        </p:xfrm>
        <a:graphic>
          <a:graphicData uri="http://schemas.openxmlformats.org/drawingml/2006/table">
            <a:tbl>
              <a:tblPr firstRow="1" bandRow="1">
                <a:tableStyleId>{2D5ABB26-0587-4C30-8999-92F81FD0307C}</a:tableStyleId>
              </a:tblPr>
              <a:tblGrid>
                <a:gridCol w="7461834">
                  <a:extLst>
                    <a:ext uri="{9D8B030D-6E8A-4147-A177-3AD203B41FA5}">
                      <a16:colId xmlns:a16="http://schemas.microsoft.com/office/drawing/2014/main" val="1367209598"/>
                    </a:ext>
                  </a:extLst>
                </a:gridCol>
              </a:tblGrid>
              <a:tr h="534410">
                <a:tc>
                  <a:txBody>
                    <a:bodyPr/>
                    <a:lstStyle/>
                    <a:p>
                      <a:pPr marL="539750" lvl="0" indent="-539750" algn="l" rtl="0" eaLnBrk="1" fontAlgn="auto" hangingPunct="1">
                        <a:lnSpc>
                          <a:spcPct val="100000"/>
                        </a:lnSpc>
                        <a:spcBef>
                          <a:spcPts val="0"/>
                        </a:spcBef>
                        <a:spcAft>
                          <a:spcPts val="0"/>
                        </a:spcAft>
                        <a:buClrTx/>
                        <a:buFont typeface="+mj-lt"/>
                        <a:buAutoNum type="arabicPeriod"/>
                      </a:pPr>
                      <a:r>
                        <a:rPr lang="da-DK" sz="2400" b="1" baseline="0" noProof="0" dirty="0">
                          <a:solidFill>
                            <a:schemeClr val="accent1">
                              <a:lumMod val="100000"/>
                            </a:schemeClr>
                          </a:solidFill>
                          <a:latin typeface="TDC NET" panose="00000500000000000000" pitchFamily="2" charset="0"/>
                          <a:ea typeface="+mn-ea"/>
                          <a:cs typeface="+mn-cs"/>
                          <a:sym typeface="TDC NET" panose="00000500000000000000" pitchFamily="2" charset="0"/>
                        </a:rPr>
                        <a:t>TDC NET introduktion</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442068709"/>
                  </a:ext>
                </a:extLst>
              </a:tr>
              <a:tr h="534410">
                <a:tc>
                  <a:txBody>
                    <a:bodyPr/>
                    <a:lstStyle/>
                    <a:p>
                      <a:pPr marL="539750" lvl="0" indent="-539750" algn="l" rtl="0" eaLnBrk="1" fontAlgn="auto" hangingPunct="1">
                        <a:lnSpc>
                          <a:spcPct val="100000"/>
                        </a:lnSpc>
                        <a:spcBef>
                          <a:spcPts val="0"/>
                        </a:spcBef>
                        <a:spcAft>
                          <a:spcPts val="0"/>
                        </a:spcAft>
                        <a:buClrTx/>
                        <a:buFont typeface="+mj-lt"/>
                        <a:buAutoNum type="arabicPeriod" startAt="2"/>
                      </a:pPr>
                      <a:r>
                        <a:rPr lang="da-DK" sz="2400" b="1" baseline="0" noProof="0" dirty="0">
                          <a:solidFill>
                            <a:schemeClr val="accent2">
                              <a:lumMod val="100000"/>
                            </a:schemeClr>
                          </a:solidFill>
                          <a:latin typeface="TDC NET" panose="00000500000000000000" pitchFamily="2" charset="0"/>
                          <a:ea typeface="+mn-ea"/>
                          <a:cs typeface="+mn-cs"/>
                          <a:sym typeface="TDC NET" panose="00000500000000000000" pitchFamily="2" charset="0"/>
                        </a:rPr>
                        <a:t>Hvorfor vælge tilslutning til TDC NET Fiber?</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1450701"/>
                  </a:ext>
                </a:extLst>
              </a:tr>
              <a:tr h="534410">
                <a:tc>
                  <a:txBody>
                    <a:bodyPr/>
                    <a:lstStyle/>
                    <a:p>
                      <a:pPr marL="517525" lvl="0" indent="-517525" algn="l" rtl="0" eaLnBrk="1" fontAlgn="auto" hangingPunct="1">
                        <a:lnSpc>
                          <a:spcPct val="100000"/>
                        </a:lnSpc>
                        <a:spcBef>
                          <a:spcPts val="0"/>
                        </a:spcBef>
                        <a:spcAft>
                          <a:spcPts val="0"/>
                        </a:spcAft>
                        <a:buClrTx/>
                        <a:buFont typeface="+mj-lt"/>
                        <a:buAutoNum type="arabicPeriod" startAt="3"/>
                      </a:pPr>
                      <a:r>
                        <a:rPr lang="da-DK" sz="2400" b="1" baseline="0" noProof="0" dirty="0">
                          <a:solidFill>
                            <a:schemeClr val="accent2">
                              <a:lumMod val="100000"/>
                            </a:schemeClr>
                          </a:solidFill>
                          <a:latin typeface="TDC NET" panose="00000500000000000000" pitchFamily="2" charset="0"/>
                          <a:ea typeface="+mn-ea"/>
                          <a:cs typeface="+mn-cs"/>
                          <a:sym typeface="TDC NET" panose="00000500000000000000" pitchFamily="2" charset="0"/>
                        </a:rPr>
                        <a:t>Hvordan med det praktiske?</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12231103"/>
                  </a:ext>
                </a:extLst>
              </a:tr>
              <a:tr h="534410">
                <a:tc>
                  <a:txBody>
                    <a:bodyPr/>
                    <a:lstStyle/>
                    <a:p>
                      <a:pPr marL="517525" marR="0" lvl="0" indent="-517525"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da-DK" sz="2400" b="1" i="0" u="none" strike="noStrike" kern="1200" cap="none" spc="0" normalizeH="0" baseline="0" noProof="0" dirty="0">
                          <a:ln>
                            <a:noFill/>
                          </a:ln>
                          <a:solidFill>
                            <a:schemeClr val="accent2"/>
                          </a:solidFill>
                          <a:effectLst/>
                          <a:uLnTx/>
                          <a:uFillTx/>
                          <a:latin typeface="TDC NET" panose="00000500000000000000" pitchFamily="2" charset="0"/>
                          <a:ea typeface="+mn-ea"/>
                          <a:cs typeface="+mn-cs"/>
                          <a:sym typeface="TDC NET" panose="00000500000000000000" pitchFamily="2" charset="0"/>
                        </a:rPr>
                        <a:t>Opsummering, spørgsmål</a:t>
                      </a:r>
                    </a:p>
                  </a:txBody>
                  <a:tcPr marL="68580" marR="68580" marT="34290" marB="34290" anchor="ctr">
                    <a:lnL w="0">
                      <a:solidFill>
                        <a:srgbClr val="FFFFFF"/>
                      </a:solidFill>
                    </a:lnL>
                    <a:lnR w="0">
                      <a:solidFill>
                        <a:srgbClr val="FFFFFF"/>
                      </a:solidFill>
                    </a:lnR>
                    <a:lnT w="0">
                      <a:solidFill>
                        <a:srgbClr val="FFFFFF"/>
                      </a:solidFill>
                    </a:lnT>
                    <a:lnB w="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96943"/>
                  </a:ext>
                </a:extLst>
              </a:tr>
              <a:tr h="53441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a-DK" sz="2400" b="1" i="0" u="none" strike="noStrike" kern="1200" cap="none" spc="0" normalizeH="0" baseline="0" noProof="0" dirty="0">
                        <a:ln>
                          <a:noFill/>
                        </a:ln>
                        <a:solidFill>
                          <a:schemeClr val="accent2">
                            <a:lumMod val="100000"/>
                          </a:schemeClr>
                        </a:solidFill>
                        <a:effectLst/>
                        <a:uLnTx/>
                        <a:uFillTx/>
                        <a:latin typeface="TDC NET" panose="00000500000000000000" pitchFamily="2" charset="0"/>
                        <a:ea typeface="+mn-ea"/>
                        <a:cs typeface="+mn-cs"/>
                        <a:sym typeface="TDC NET" panose="00000500000000000000" pitchFamily="2" charset="0"/>
                      </a:endParaRPr>
                    </a:p>
                  </a:txBody>
                  <a:tcPr marL="68580" marR="68580" marT="34290" marB="34290" anchor="ctr">
                    <a:lnL w="0">
                      <a:solidFill>
                        <a:srgbClr val="FFFFFF"/>
                      </a:solidFill>
                    </a:lnL>
                    <a:lnR w="0">
                      <a:solidFill>
                        <a:srgbClr val="FFFFFF"/>
                      </a:solidFill>
                    </a:lnR>
                    <a:lnT w="0" cap="flat" cmpd="sng" algn="ctr">
                      <a:solidFill>
                        <a:srgbClr val="FFFFFF"/>
                      </a:solidFill>
                      <a:prstDash val="solid"/>
                      <a:round/>
                      <a:headEnd type="none" w="med" len="med"/>
                      <a:tailEnd type="none" w="med" len="med"/>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126920813"/>
                  </a:ext>
                </a:extLst>
              </a:tr>
            </a:tbl>
          </a:graphicData>
        </a:graphic>
      </p:graphicFrame>
      <p:sp>
        <p:nvSpPr>
          <p:cNvPr id="8" name="Grafik 267">
            <a:extLst>
              <a:ext uri="{FF2B5EF4-FFF2-40B4-BE49-F238E27FC236}">
                <a16:creationId xmlns:a16="http://schemas.microsoft.com/office/drawing/2014/main" id="{7DA04FCF-2F5F-4CE9-921B-692692BE2829}"/>
              </a:ext>
            </a:extLst>
          </p:cNvPr>
          <p:cNvSpPr/>
          <p:nvPr>
            <p:custDataLst>
              <p:tags r:id="rId6"/>
            </p:custDataLst>
          </p:nvPr>
        </p:nvSpPr>
        <p:spPr>
          <a:xfrm>
            <a:off x="588000" y="1712705"/>
            <a:ext cx="412287" cy="312039"/>
          </a:xfrm>
          <a:custGeom>
            <a:avLst/>
            <a:gdLst>
              <a:gd name="connsiteX0" fmla="*/ 257157 w 412287"/>
              <a:gd name="connsiteY0" fmla="*/ 0 h 312039"/>
              <a:gd name="connsiteX1" fmla="*/ 228198 w 412287"/>
              <a:gd name="connsiteY1" fmla="*/ 28959 h 312039"/>
              <a:gd name="connsiteX2" fmla="*/ 335675 w 412287"/>
              <a:gd name="connsiteY2" fmla="*/ 136422 h 312039"/>
              <a:gd name="connsiteX3" fmla="*/ 0 w 412287"/>
              <a:gd name="connsiteY3" fmla="*/ 136422 h 312039"/>
              <a:gd name="connsiteX4" fmla="*/ 0 w 412287"/>
              <a:gd name="connsiteY4" fmla="*/ 177354 h 312039"/>
              <a:gd name="connsiteX5" fmla="*/ 334207 w 412287"/>
              <a:gd name="connsiteY5" fmla="*/ 177354 h 312039"/>
              <a:gd name="connsiteX6" fmla="*/ 228227 w 412287"/>
              <a:gd name="connsiteY6" fmla="*/ 283363 h 312039"/>
              <a:gd name="connsiteX7" fmla="*/ 257185 w 412287"/>
              <a:gd name="connsiteY7" fmla="*/ 312322 h 312039"/>
              <a:gd name="connsiteX8" fmla="*/ 413318 w 412287"/>
              <a:gd name="connsiteY8" fmla="*/ 156147 h 312039"/>
              <a:gd name="connsiteX9" fmla="*/ 257157 w 412287"/>
              <a:gd name="connsiteY9" fmla="*/ 0 h 31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287" h="312039">
                <a:moveTo>
                  <a:pt x="257157" y="0"/>
                </a:moveTo>
                <a:lnTo>
                  <a:pt x="228198" y="28959"/>
                </a:lnTo>
                <a:lnTo>
                  <a:pt x="335675" y="136422"/>
                </a:lnTo>
                <a:lnTo>
                  <a:pt x="0" y="136422"/>
                </a:lnTo>
                <a:lnTo>
                  <a:pt x="0" y="177354"/>
                </a:lnTo>
                <a:lnTo>
                  <a:pt x="334207" y="177354"/>
                </a:lnTo>
                <a:lnTo>
                  <a:pt x="228227" y="283363"/>
                </a:lnTo>
                <a:lnTo>
                  <a:pt x="257185" y="312322"/>
                </a:lnTo>
                <a:lnTo>
                  <a:pt x="413318" y="156147"/>
                </a:lnTo>
                <a:lnTo>
                  <a:pt x="257157" y="0"/>
                </a:lnTo>
                <a:close/>
              </a:path>
            </a:pathLst>
          </a:custGeom>
          <a:solidFill>
            <a:srgbClr val="3755D7"/>
          </a:solidFill>
          <a:ln w="1401" cap="flat">
            <a:noFill/>
            <a:prstDash val="solid"/>
            <a:miter/>
          </a:ln>
        </p:spPr>
        <p:txBody>
          <a:bodyPr rtlCol="0" anchor="ctr"/>
          <a:lstStyle/>
          <a:p>
            <a:endParaRPr lang="da-DK" dirty="0"/>
          </a:p>
        </p:txBody>
      </p:sp>
    </p:spTree>
    <p:custDataLst>
      <p:custData r:id="rId1"/>
      <p:tags r:id="rId2"/>
    </p:custDataLst>
    <p:extLst>
      <p:ext uri="{BB962C8B-B14F-4D97-AF65-F5344CB8AC3E}">
        <p14:creationId xmlns:p14="http://schemas.microsoft.com/office/powerpoint/2010/main" val="3779238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3F58266-41B9-4D66-8BAB-924CC1B7E5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kt 3" hidden="1">
                        <a:extLst>
                          <a:ext uri="{FF2B5EF4-FFF2-40B4-BE49-F238E27FC236}">
                            <a16:creationId xmlns:a16="http://schemas.microsoft.com/office/drawing/2014/main" id="{03F58266-41B9-4D66-8BAB-924CC1B7E5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6CFCA6D5-8F1B-44A3-A3C4-612C53858C3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nSpc>
                <a:spcPct val="90000"/>
              </a:lnSpc>
            </a:pPr>
            <a:endParaRPr lang="da-DK" sz="2500" b="1" noProof="0" dirty="0" err="1">
              <a:latin typeface="TDC NET" panose="00000500000000000000" pitchFamily="2" charset="0"/>
              <a:ea typeface="+mj-ea"/>
              <a:cs typeface="+mj-cs"/>
              <a:sym typeface="TDC NET" panose="00000500000000000000" pitchFamily="2" charset="0"/>
            </a:endParaRPr>
          </a:p>
        </p:txBody>
      </p:sp>
      <p:sp>
        <p:nvSpPr>
          <p:cNvPr id="3" name="Titel 2">
            <a:extLst>
              <a:ext uri="{FF2B5EF4-FFF2-40B4-BE49-F238E27FC236}">
                <a16:creationId xmlns:a16="http://schemas.microsoft.com/office/drawing/2014/main" id="{E528E728-C772-4B4F-A6DF-AEE830AFC6F9}"/>
              </a:ext>
            </a:extLst>
          </p:cNvPr>
          <p:cNvSpPr>
            <a:spLocks noGrp="1"/>
          </p:cNvSpPr>
          <p:nvPr>
            <p:ph type="title"/>
          </p:nvPr>
        </p:nvSpPr>
        <p:spPr>
          <a:xfrm>
            <a:off x="588000" y="396000"/>
            <a:ext cx="11016000" cy="638636"/>
          </a:xfrm>
        </p:spPr>
        <p:txBody>
          <a:bodyPr/>
          <a:lstStyle/>
          <a:p>
            <a:r>
              <a:rPr lang="da-DK" dirty="0"/>
              <a:t>TDC NET har formet den danske kommunikations infrastruktur siden 1890 </a:t>
            </a:r>
          </a:p>
        </p:txBody>
      </p:sp>
      <p:sp>
        <p:nvSpPr>
          <p:cNvPr id="12" name="object 8">
            <a:extLst>
              <a:ext uri="{FF2B5EF4-FFF2-40B4-BE49-F238E27FC236}">
                <a16:creationId xmlns:a16="http://schemas.microsoft.com/office/drawing/2014/main" id="{92839188-B46F-3E45-A09E-B44BDBBB1366}"/>
              </a:ext>
            </a:extLst>
          </p:cNvPr>
          <p:cNvSpPr txBox="1"/>
          <p:nvPr/>
        </p:nvSpPr>
        <p:spPr>
          <a:xfrm>
            <a:off x="1946652" y="2629332"/>
            <a:ext cx="426434" cy="197490"/>
          </a:xfrm>
          <a:prstGeom prst="rect">
            <a:avLst/>
          </a:prstGeom>
        </p:spPr>
        <p:txBody>
          <a:bodyPr vert="horz" wrap="square" lIns="0" tIns="12700" rIns="0" bIns="0" rtlCol="0">
            <a:spAutoFit/>
          </a:bodyPr>
          <a:lstStyle/>
          <a:p>
            <a:pPr marL="12700">
              <a:lnSpc>
                <a:spcPct val="100000"/>
              </a:lnSpc>
              <a:spcBef>
                <a:spcPts val="100"/>
              </a:spcBef>
            </a:pPr>
            <a:r>
              <a:rPr lang="da-DK" sz="1200" b="1" dirty="0">
                <a:solidFill>
                  <a:schemeClr val="accent2"/>
                </a:solidFill>
                <a:latin typeface="TDC NET"/>
                <a:cs typeface="TDC NET"/>
              </a:rPr>
              <a:t>1</a:t>
            </a:r>
            <a:r>
              <a:rPr lang="da-DK" sz="1200" b="1" spc="-50" dirty="0">
                <a:solidFill>
                  <a:schemeClr val="accent2"/>
                </a:solidFill>
                <a:latin typeface="TDC NET"/>
                <a:cs typeface="TDC NET"/>
              </a:rPr>
              <a:t>8</a:t>
            </a:r>
            <a:r>
              <a:rPr lang="da-DK" sz="1200" b="1" dirty="0">
                <a:solidFill>
                  <a:schemeClr val="accent2"/>
                </a:solidFill>
                <a:latin typeface="TDC NET"/>
                <a:cs typeface="TDC NET"/>
              </a:rPr>
              <a:t>79</a:t>
            </a:r>
            <a:endParaRPr lang="da-DK" sz="1200" dirty="0">
              <a:solidFill>
                <a:schemeClr val="accent2"/>
              </a:solidFill>
              <a:latin typeface="TDC NET"/>
              <a:cs typeface="TDC NET"/>
            </a:endParaRPr>
          </a:p>
        </p:txBody>
      </p:sp>
      <p:sp>
        <p:nvSpPr>
          <p:cNvPr id="13" name="object 9">
            <a:extLst>
              <a:ext uri="{FF2B5EF4-FFF2-40B4-BE49-F238E27FC236}">
                <a16:creationId xmlns:a16="http://schemas.microsoft.com/office/drawing/2014/main" id="{280F5AB0-FA9D-2243-A239-169B6A08C6AE}"/>
              </a:ext>
            </a:extLst>
          </p:cNvPr>
          <p:cNvSpPr txBox="1"/>
          <p:nvPr/>
        </p:nvSpPr>
        <p:spPr>
          <a:xfrm>
            <a:off x="4194564" y="2923709"/>
            <a:ext cx="803910" cy="197490"/>
          </a:xfrm>
          <a:prstGeom prst="rect">
            <a:avLst/>
          </a:prstGeom>
        </p:spPr>
        <p:txBody>
          <a:bodyPr vert="horz" wrap="square" lIns="0" tIns="12700" rIns="0" bIns="0" rtlCol="0">
            <a:spAutoFit/>
          </a:bodyPr>
          <a:lstStyle/>
          <a:p>
            <a:pPr marL="12700">
              <a:lnSpc>
                <a:spcPct val="100000"/>
              </a:lnSpc>
              <a:spcBef>
                <a:spcPts val="100"/>
              </a:spcBef>
            </a:pPr>
            <a:r>
              <a:rPr lang="da-DK" sz="1200" b="1" dirty="0">
                <a:solidFill>
                  <a:schemeClr val="accent2"/>
                </a:solidFill>
                <a:latin typeface="TDC NET"/>
                <a:cs typeface="TDC NET"/>
              </a:rPr>
              <a:t>1900</a:t>
            </a:r>
            <a:r>
              <a:rPr lang="da-DK" sz="1200" b="1" spc="-120" dirty="0">
                <a:solidFill>
                  <a:schemeClr val="accent2"/>
                </a:solidFill>
                <a:latin typeface="TDC NET"/>
                <a:cs typeface="TDC NET"/>
              </a:rPr>
              <a:t>–</a:t>
            </a:r>
            <a:r>
              <a:rPr lang="da-DK" sz="1200" b="1" dirty="0">
                <a:solidFill>
                  <a:schemeClr val="accent2"/>
                </a:solidFill>
                <a:latin typeface="TDC NET"/>
                <a:cs typeface="TDC NET"/>
              </a:rPr>
              <a:t>1980</a:t>
            </a:r>
            <a:endParaRPr lang="da-DK" sz="1200" dirty="0">
              <a:solidFill>
                <a:schemeClr val="accent2"/>
              </a:solidFill>
              <a:latin typeface="TDC NET"/>
              <a:cs typeface="TDC NET"/>
            </a:endParaRPr>
          </a:p>
        </p:txBody>
      </p:sp>
      <p:sp>
        <p:nvSpPr>
          <p:cNvPr id="14" name="object 10">
            <a:extLst>
              <a:ext uri="{FF2B5EF4-FFF2-40B4-BE49-F238E27FC236}">
                <a16:creationId xmlns:a16="http://schemas.microsoft.com/office/drawing/2014/main" id="{56123A23-B923-E043-ABB1-D9362F6EF08B}"/>
              </a:ext>
            </a:extLst>
          </p:cNvPr>
          <p:cNvSpPr txBox="1"/>
          <p:nvPr/>
        </p:nvSpPr>
        <p:spPr>
          <a:xfrm>
            <a:off x="3119770" y="3318610"/>
            <a:ext cx="516059" cy="197490"/>
          </a:xfrm>
          <a:prstGeom prst="rect">
            <a:avLst/>
          </a:prstGeom>
        </p:spPr>
        <p:txBody>
          <a:bodyPr vert="horz" wrap="square" lIns="0" tIns="12700" rIns="0" bIns="0" rtlCol="0">
            <a:spAutoFit/>
          </a:bodyPr>
          <a:lstStyle/>
          <a:p>
            <a:pPr marL="12700">
              <a:lnSpc>
                <a:spcPct val="100000"/>
              </a:lnSpc>
              <a:spcBef>
                <a:spcPts val="100"/>
              </a:spcBef>
            </a:pPr>
            <a:r>
              <a:rPr lang="da-DK" sz="1200" b="1" dirty="0">
                <a:solidFill>
                  <a:schemeClr val="accent2"/>
                </a:solidFill>
                <a:latin typeface="TDC NET"/>
                <a:cs typeface="TDC NET"/>
              </a:rPr>
              <a:t>1890</a:t>
            </a:r>
            <a:endParaRPr lang="da-DK" sz="1200" dirty="0">
              <a:solidFill>
                <a:schemeClr val="accent2"/>
              </a:solidFill>
              <a:latin typeface="TDC NET"/>
              <a:cs typeface="TDC NET"/>
            </a:endParaRPr>
          </a:p>
        </p:txBody>
      </p:sp>
      <p:sp>
        <p:nvSpPr>
          <p:cNvPr id="15" name="object 11">
            <a:extLst>
              <a:ext uri="{FF2B5EF4-FFF2-40B4-BE49-F238E27FC236}">
                <a16:creationId xmlns:a16="http://schemas.microsoft.com/office/drawing/2014/main" id="{A8A2BDAA-F637-E945-92D9-9BD2029BC5F2}"/>
              </a:ext>
            </a:extLst>
          </p:cNvPr>
          <p:cNvSpPr txBox="1"/>
          <p:nvPr/>
        </p:nvSpPr>
        <p:spPr>
          <a:xfrm>
            <a:off x="7144783" y="4440275"/>
            <a:ext cx="475217" cy="197490"/>
          </a:xfrm>
          <a:prstGeom prst="rect">
            <a:avLst/>
          </a:prstGeom>
        </p:spPr>
        <p:txBody>
          <a:bodyPr vert="horz" wrap="square" lIns="0" tIns="12700" rIns="0" bIns="0" rtlCol="0">
            <a:spAutoFit/>
          </a:bodyPr>
          <a:lstStyle/>
          <a:p>
            <a:pPr marL="12700">
              <a:lnSpc>
                <a:spcPct val="100000"/>
              </a:lnSpc>
              <a:spcBef>
                <a:spcPts val="100"/>
              </a:spcBef>
            </a:pPr>
            <a:r>
              <a:rPr lang="da-DK" sz="1200" b="1" dirty="0">
                <a:solidFill>
                  <a:schemeClr val="accent2"/>
                </a:solidFill>
                <a:latin typeface="TDC NET"/>
                <a:cs typeface="TDC NET"/>
              </a:rPr>
              <a:t>1990</a:t>
            </a:r>
            <a:endParaRPr lang="da-DK" sz="1200" dirty="0">
              <a:solidFill>
                <a:schemeClr val="accent2"/>
              </a:solidFill>
              <a:latin typeface="TDC NET"/>
              <a:cs typeface="TDC NET"/>
            </a:endParaRPr>
          </a:p>
        </p:txBody>
      </p:sp>
      <p:sp>
        <p:nvSpPr>
          <p:cNvPr id="16" name="object 12">
            <a:extLst>
              <a:ext uri="{FF2B5EF4-FFF2-40B4-BE49-F238E27FC236}">
                <a16:creationId xmlns:a16="http://schemas.microsoft.com/office/drawing/2014/main" id="{F99B590A-F058-184D-8C11-5F470F6260F6}"/>
              </a:ext>
            </a:extLst>
          </p:cNvPr>
          <p:cNvSpPr txBox="1"/>
          <p:nvPr/>
        </p:nvSpPr>
        <p:spPr>
          <a:xfrm>
            <a:off x="9560389" y="4581675"/>
            <a:ext cx="475217" cy="197490"/>
          </a:xfrm>
          <a:prstGeom prst="rect">
            <a:avLst/>
          </a:prstGeom>
        </p:spPr>
        <p:txBody>
          <a:bodyPr vert="horz" wrap="square" lIns="0" tIns="12700" rIns="0" bIns="0" rtlCol="0">
            <a:spAutoFit/>
          </a:bodyPr>
          <a:lstStyle/>
          <a:p>
            <a:pPr marL="12700">
              <a:lnSpc>
                <a:spcPct val="100000"/>
              </a:lnSpc>
              <a:spcBef>
                <a:spcPts val="100"/>
              </a:spcBef>
            </a:pPr>
            <a:r>
              <a:rPr lang="da-DK" sz="1200" b="1" dirty="0">
                <a:solidFill>
                  <a:schemeClr val="accent2"/>
                </a:solidFill>
                <a:latin typeface="TDC NET"/>
                <a:cs typeface="TDC NET"/>
              </a:rPr>
              <a:t>2</a:t>
            </a:r>
            <a:r>
              <a:rPr lang="da-DK" sz="1200" b="1" spc="-25" dirty="0">
                <a:solidFill>
                  <a:schemeClr val="accent2"/>
                </a:solidFill>
                <a:latin typeface="TDC NET"/>
                <a:cs typeface="TDC NET"/>
              </a:rPr>
              <a:t>0</a:t>
            </a:r>
            <a:r>
              <a:rPr lang="da-DK" sz="1200" b="1" dirty="0">
                <a:solidFill>
                  <a:schemeClr val="accent2"/>
                </a:solidFill>
                <a:latin typeface="TDC NET"/>
                <a:cs typeface="TDC NET"/>
              </a:rPr>
              <a:t>19</a:t>
            </a:r>
            <a:endParaRPr lang="da-DK" sz="1200" dirty="0">
              <a:solidFill>
                <a:schemeClr val="accent2"/>
              </a:solidFill>
              <a:latin typeface="TDC NET"/>
              <a:cs typeface="TDC NET"/>
            </a:endParaRPr>
          </a:p>
        </p:txBody>
      </p:sp>
      <p:sp>
        <p:nvSpPr>
          <p:cNvPr id="17" name="object 13">
            <a:extLst>
              <a:ext uri="{FF2B5EF4-FFF2-40B4-BE49-F238E27FC236}">
                <a16:creationId xmlns:a16="http://schemas.microsoft.com/office/drawing/2014/main" id="{7EB25293-BC1E-0C40-A120-0E2F05603412}"/>
              </a:ext>
            </a:extLst>
          </p:cNvPr>
          <p:cNvSpPr txBox="1"/>
          <p:nvPr/>
        </p:nvSpPr>
        <p:spPr>
          <a:xfrm>
            <a:off x="8354573" y="3961920"/>
            <a:ext cx="549935" cy="197490"/>
          </a:xfrm>
          <a:prstGeom prst="rect">
            <a:avLst/>
          </a:prstGeom>
        </p:spPr>
        <p:txBody>
          <a:bodyPr vert="horz" wrap="square" lIns="0" tIns="12700" rIns="0" bIns="0" rtlCol="0">
            <a:spAutoFit/>
          </a:bodyPr>
          <a:lstStyle/>
          <a:p>
            <a:pPr marL="12700">
              <a:lnSpc>
                <a:spcPct val="100000"/>
              </a:lnSpc>
              <a:spcBef>
                <a:spcPts val="100"/>
              </a:spcBef>
            </a:pPr>
            <a:r>
              <a:rPr lang="da-DK" sz="1200" b="1" dirty="0">
                <a:solidFill>
                  <a:schemeClr val="accent2"/>
                </a:solidFill>
                <a:latin typeface="TDC NET"/>
                <a:cs typeface="TDC NET"/>
              </a:rPr>
              <a:t>2000</a:t>
            </a:r>
            <a:endParaRPr lang="da-DK" sz="1200" dirty="0">
              <a:solidFill>
                <a:schemeClr val="accent2"/>
              </a:solidFill>
              <a:latin typeface="TDC NET"/>
              <a:cs typeface="TDC NET"/>
            </a:endParaRPr>
          </a:p>
        </p:txBody>
      </p:sp>
      <p:sp>
        <p:nvSpPr>
          <p:cNvPr id="19" name="Ellipse 18">
            <a:extLst>
              <a:ext uri="{FF2B5EF4-FFF2-40B4-BE49-F238E27FC236}">
                <a16:creationId xmlns:a16="http://schemas.microsoft.com/office/drawing/2014/main" id="{0CE970E5-6F92-7948-98A3-CB603915CCE6}"/>
              </a:ext>
            </a:extLst>
          </p:cNvPr>
          <p:cNvSpPr/>
          <p:nvPr/>
        </p:nvSpPr>
        <p:spPr>
          <a:xfrm>
            <a:off x="2025165" y="2923858"/>
            <a:ext cx="203200" cy="203200"/>
          </a:xfrm>
          <a:prstGeom prst="ellipse">
            <a:avLst/>
          </a:prstGeom>
          <a:solidFill>
            <a:schemeClr val="accent2"/>
          </a:solidFill>
          <a:ln w="539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solidFill>
                <a:schemeClr val="accent2"/>
              </a:solidFill>
            </a:endParaRPr>
          </a:p>
        </p:txBody>
      </p:sp>
      <p:sp>
        <p:nvSpPr>
          <p:cNvPr id="20" name="Ellipse 19">
            <a:extLst>
              <a:ext uri="{FF2B5EF4-FFF2-40B4-BE49-F238E27FC236}">
                <a16:creationId xmlns:a16="http://schemas.microsoft.com/office/drawing/2014/main" id="{3D75EB4E-8136-0F48-A39E-836F69B37FD6}"/>
              </a:ext>
            </a:extLst>
          </p:cNvPr>
          <p:cNvSpPr/>
          <p:nvPr/>
        </p:nvSpPr>
        <p:spPr>
          <a:xfrm>
            <a:off x="3201568" y="3023603"/>
            <a:ext cx="203200" cy="203200"/>
          </a:xfrm>
          <a:prstGeom prst="ellipse">
            <a:avLst/>
          </a:prstGeom>
          <a:solidFill>
            <a:schemeClr val="accent2"/>
          </a:solidFill>
          <a:ln w="539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solidFill>
                <a:schemeClr val="accent2"/>
              </a:solidFill>
            </a:endParaRPr>
          </a:p>
        </p:txBody>
      </p:sp>
      <p:sp>
        <p:nvSpPr>
          <p:cNvPr id="21" name="Ellipse 20">
            <a:extLst>
              <a:ext uri="{FF2B5EF4-FFF2-40B4-BE49-F238E27FC236}">
                <a16:creationId xmlns:a16="http://schemas.microsoft.com/office/drawing/2014/main" id="{59F5A3C1-702C-7748-8329-AD462B04FDC8}"/>
              </a:ext>
            </a:extLst>
          </p:cNvPr>
          <p:cNvSpPr/>
          <p:nvPr/>
        </p:nvSpPr>
        <p:spPr>
          <a:xfrm>
            <a:off x="4502048" y="3297063"/>
            <a:ext cx="203200" cy="203200"/>
          </a:xfrm>
          <a:prstGeom prst="ellipse">
            <a:avLst/>
          </a:prstGeom>
          <a:solidFill>
            <a:schemeClr val="accent2"/>
          </a:solidFill>
          <a:ln w="539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solidFill>
                <a:schemeClr val="accent2"/>
              </a:solidFill>
            </a:endParaRPr>
          </a:p>
        </p:txBody>
      </p:sp>
      <p:sp>
        <p:nvSpPr>
          <p:cNvPr id="22" name="Ellipse 21">
            <a:extLst>
              <a:ext uri="{FF2B5EF4-FFF2-40B4-BE49-F238E27FC236}">
                <a16:creationId xmlns:a16="http://schemas.microsoft.com/office/drawing/2014/main" id="{4A1CDE8C-8D05-8843-9DF9-ADE2882AC7CA}"/>
              </a:ext>
            </a:extLst>
          </p:cNvPr>
          <p:cNvSpPr/>
          <p:nvPr/>
        </p:nvSpPr>
        <p:spPr>
          <a:xfrm>
            <a:off x="7255626" y="4125619"/>
            <a:ext cx="203200" cy="203200"/>
          </a:xfrm>
          <a:prstGeom prst="ellipse">
            <a:avLst/>
          </a:prstGeom>
          <a:solidFill>
            <a:schemeClr val="accent2"/>
          </a:solidFill>
          <a:ln w="539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solidFill>
                <a:schemeClr val="accent2"/>
              </a:solidFill>
            </a:endParaRPr>
          </a:p>
        </p:txBody>
      </p:sp>
      <p:sp>
        <p:nvSpPr>
          <p:cNvPr id="23" name="Ellipse 22">
            <a:extLst>
              <a:ext uri="{FF2B5EF4-FFF2-40B4-BE49-F238E27FC236}">
                <a16:creationId xmlns:a16="http://schemas.microsoft.com/office/drawing/2014/main" id="{F0EE8AD7-E39A-5345-B180-CCD47EEBB281}"/>
              </a:ext>
            </a:extLst>
          </p:cNvPr>
          <p:cNvSpPr/>
          <p:nvPr/>
        </p:nvSpPr>
        <p:spPr>
          <a:xfrm>
            <a:off x="8444346" y="4276773"/>
            <a:ext cx="203200" cy="203200"/>
          </a:xfrm>
          <a:prstGeom prst="ellipse">
            <a:avLst/>
          </a:prstGeom>
          <a:solidFill>
            <a:schemeClr val="accent2"/>
          </a:solidFill>
          <a:ln w="539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solidFill>
                <a:schemeClr val="accent2"/>
              </a:solidFill>
            </a:endParaRPr>
          </a:p>
        </p:txBody>
      </p:sp>
      <p:sp>
        <p:nvSpPr>
          <p:cNvPr id="24" name="Ellipse 23">
            <a:extLst>
              <a:ext uri="{FF2B5EF4-FFF2-40B4-BE49-F238E27FC236}">
                <a16:creationId xmlns:a16="http://schemas.microsoft.com/office/drawing/2014/main" id="{CD25F48C-0AC5-C14F-A6AF-741A701B89CE}"/>
              </a:ext>
            </a:extLst>
          </p:cNvPr>
          <p:cNvSpPr/>
          <p:nvPr/>
        </p:nvSpPr>
        <p:spPr>
          <a:xfrm>
            <a:off x="9633066" y="4236133"/>
            <a:ext cx="203200" cy="203200"/>
          </a:xfrm>
          <a:prstGeom prst="ellipse">
            <a:avLst/>
          </a:prstGeom>
          <a:solidFill>
            <a:schemeClr val="accent2"/>
          </a:solidFill>
          <a:ln w="539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solidFill>
                <a:schemeClr val="accent2"/>
              </a:solidFill>
            </a:endParaRPr>
          </a:p>
        </p:txBody>
      </p:sp>
      <p:cxnSp>
        <p:nvCxnSpPr>
          <p:cNvPr id="25" name="Lige pilforbindelse 24">
            <a:extLst>
              <a:ext uri="{FF2B5EF4-FFF2-40B4-BE49-F238E27FC236}">
                <a16:creationId xmlns:a16="http://schemas.microsoft.com/office/drawing/2014/main" id="{EDF8856D-18BC-8242-A652-D9CD842EDF00}"/>
              </a:ext>
            </a:extLst>
          </p:cNvPr>
          <p:cNvCxnSpPr>
            <a:cxnSpLocks/>
          </p:cNvCxnSpPr>
          <p:nvPr/>
        </p:nvCxnSpPr>
        <p:spPr>
          <a:xfrm>
            <a:off x="2126765" y="3236963"/>
            <a:ext cx="0" cy="1354872"/>
          </a:xfrm>
          <a:prstGeom prst="straightConnector1">
            <a:avLst/>
          </a:prstGeom>
          <a:ln/>
        </p:spPr>
        <p:style>
          <a:lnRef idx="1">
            <a:schemeClr val="accent2"/>
          </a:lnRef>
          <a:fillRef idx="0">
            <a:schemeClr val="accent2"/>
          </a:fillRef>
          <a:effectRef idx="0">
            <a:schemeClr val="accent2"/>
          </a:effectRef>
          <a:fontRef idx="minor">
            <a:schemeClr val="tx1"/>
          </a:fontRef>
        </p:style>
      </p:cxnSp>
      <p:cxnSp>
        <p:nvCxnSpPr>
          <p:cNvPr id="28" name="Lige pilforbindelse 27">
            <a:extLst>
              <a:ext uri="{FF2B5EF4-FFF2-40B4-BE49-F238E27FC236}">
                <a16:creationId xmlns:a16="http://schemas.microsoft.com/office/drawing/2014/main" id="{D5C49EC1-450D-CE4D-A6D1-5096E4D8E94E}"/>
              </a:ext>
            </a:extLst>
          </p:cNvPr>
          <p:cNvCxnSpPr>
            <a:cxnSpLocks/>
          </p:cNvCxnSpPr>
          <p:nvPr/>
        </p:nvCxnSpPr>
        <p:spPr>
          <a:xfrm flipH="1">
            <a:off x="3303169" y="2507722"/>
            <a:ext cx="3675" cy="415987"/>
          </a:xfrm>
          <a:prstGeom prst="straightConnector1">
            <a:avLst/>
          </a:prstGeom>
          <a:ln/>
        </p:spPr>
        <p:style>
          <a:lnRef idx="1">
            <a:schemeClr val="accent2"/>
          </a:lnRef>
          <a:fillRef idx="0">
            <a:schemeClr val="accent2"/>
          </a:fillRef>
          <a:effectRef idx="0">
            <a:schemeClr val="accent2"/>
          </a:effectRef>
          <a:fontRef idx="minor">
            <a:schemeClr val="tx1"/>
          </a:fontRef>
        </p:style>
      </p:cxnSp>
      <p:cxnSp>
        <p:nvCxnSpPr>
          <p:cNvPr id="30" name="Lige pilforbindelse 29">
            <a:extLst>
              <a:ext uri="{FF2B5EF4-FFF2-40B4-BE49-F238E27FC236}">
                <a16:creationId xmlns:a16="http://schemas.microsoft.com/office/drawing/2014/main" id="{207682CA-3165-5140-8973-5FCD3F30AC64}"/>
              </a:ext>
            </a:extLst>
          </p:cNvPr>
          <p:cNvCxnSpPr>
            <a:cxnSpLocks/>
          </p:cNvCxnSpPr>
          <p:nvPr/>
        </p:nvCxnSpPr>
        <p:spPr>
          <a:xfrm flipH="1">
            <a:off x="4605806" y="3572211"/>
            <a:ext cx="1" cy="996188"/>
          </a:xfrm>
          <a:prstGeom prst="straightConnector1">
            <a:avLst/>
          </a:prstGeom>
          <a:ln/>
        </p:spPr>
        <p:style>
          <a:lnRef idx="1">
            <a:schemeClr val="accent2"/>
          </a:lnRef>
          <a:fillRef idx="0">
            <a:schemeClr val="accent2"/>
          </a:fillRef>
          <a:effectRef idx="0">
            <a:schemeClr val="accent2"/>
          </a:effectRef>
          <a:fontRef idx="minor">
            <a:schemeClr val="tx1"/>
          </a:fontRef>
        </p:style>
      </p:cxnSp>
      <p:cxnSp>
        <p:nvCxnSpPr>
          <p:cNvPr id="32" name="Lige pilforbindelse 31">
            <a:extLst>
              <a:ext uri="{FF2B5EF4-FFF2-40B4-BE49-F238E27FC236}">
                <a16:creationId xmlns:a16="http://schemas.microsoft.com/office/drawing/2014/main" id="{779E2993-BF76-0C47-BDFE-586585669AF0}"/>
              </a:ext>
            </a:extLst>
          </p:cNvPr>
          <p:cNvCxnSpPr>
            <a:cxnSpLocks/>
          </p:cNvCxnSpPr>
          <p:nvPr/>
        </p:nvCxnSpPr>
        <p:spPr>
          <a:xfrm flipH="1">
            <a:off x="7355068" y="3398663"/>
            <a:ext cx="1" cy="662002"/>
          </a:xfrm>
          <a:prstGeom prst="straightConnector1">
            <a:avLst/>
          </a:prstGeom>
          <a:ln/>
        </p:spPr>
        <p:style>
          <a:lnRef idx="1">
            <a:schemeClr val="accent2"/>
          </a:lnRef>
          <a:fillRef idx="0">
            <a:schemeClr val="accent2"/>
          </a:fillRef>
          <a:effectRef idx="0">
            <a:schemeClr val="accent2"/>
          </a:effectRef>
          <a:fontRef idx="minor">
            <a:schemeClr val="tx1"/>
          </a:fontRef>
        </p:style>
      </p:cxnSp>
      <p:cxnSp>
        <p:nvCxnSpPr>
          <p:cNvPr id="34" name="Lige pilforbindelse 33">
            <a:extLst>
              <a:ext uri="{FF2B5EF4-FFF2-40B4-BE49-F238E27FC236}">
                <a16:creationId xmlns:a16="http://schemas.microsoft.com/office/drawing/2014/main" id="{E7E90A9C-F892-DE44-8DE7-3EF31388F46C}"/>
              </a:ext>
            </a:extLst>
          </p:cNvPr>
          <p:cNvCxnSpPr>
            <a:cxnSpLocks/>
          </p:cNvCxnSpPr>
          <p:nvPr/>
        </p:nvCxnSpPr>
        <p:spPr>
          <a:xfrm flipH="1">
            <a:off x="8553949" y="4540278"/>
            <a:ext cx="1" cy="261117"/>
          </a:xfrm>
          <a:prstGeom prst="straightConnector1">
            <a:avLst/>
          </a:prstGeom>
          <a:ln/>
        </p:spPr>
        <p:style>
          <a:lnRef idx="1">
            <a:schemeClr val="accent2"/>
          </a:lnRef>
          <a:fillRef idx="0">
            <a:schemeClr val="accent2"/>
          </a:fillRef>
          <a:effectRef idx="0">
            <a:schemeClr val="accent2"/>
          </a:effectRef>
          <a:fontRef idx="minor">
            <a:schemeClr val="tx1"/>
          </a:fontRef>
        </p:style>
      </p:cxnSp>
      <p:cxnSp>
        <p:nvCxnSpPr>
          <p:cNvPr id="36" name="Lige pilforbindelse 35">
            <a:extLst>
              <a:ext uri="{FF2B5EF4-FFF2-40B4-BE49-F238E27FC236}">
                <a16:creationId xmlns:a16="http://schemas.microsoft.com/office/drawing/2014/main" id="{1F1C187C-4878-0E44-A955-A8777839545B}"/>
              </a:ext>
            </a:extLst>
          </p:cNvPr>
          <p:cNvCxnSpPr>
            <a:cxnSpLocks/>
          </p:cNvCxnSpPr>
          <p:nvPr/>
        </p:nvCxnSpPr>
        <p:spPr>
          <a:xfrm>
            <a:off x="9734665" y="2710300"/>
            <a:ext cx="1" cy="1398310"/>
          </a:xfrm>
          <a:prstGeom prst="straightConnector1">
            <a:avLst/>
          </a:prstGeom>
          <a:ln/>
        </p:spPr>
        <p:style>
          <a:lnRef idx="1">
            <a:schemeClr val="accent2"/>
          </a:lnRef>
          <a:fillRef idx="0">
            <a:schemeClr val="accent2"/>
          </a:fillRef>
          <a:effectRef idx="0">
            <a:schemeClr val="accent2"/>
          </a:effectRef>
          <a:fontRef idx="minor">
            <a:schemeClr val="tx1"/>
          </a:fontRef>
        </p:style>
      </p:cxnSp>
      <p:sp>
        <p:nvSpPr>
          <p:cNvPr id="31" name="object 2">
            <a:extLst>
              <a:ext uri="{FF2B5EF4-FFF2-40B4-BE49-F238E27FC236}">
                <a16:creationId xmlns:a16="http://schemas.microsoft.com/office/drawing/2014/main" id="{7D679E3E-F831-5843-8784-239F0DC72D21}"/>
              </a:ext>
            </a:extLst>
          </p:cNvPr>
          <p:cNvSpPr txBox="1"/>
          <p:nvPr/>
        </p:nvSpPr>
        <p:spPr>
          <a:xfrm>
            <a:off x="1272690" y="4568399"/>
            <a:ext cx="1708150" cy="1070806"/>
          </a:xfrm>
          <a:prstGeom prst="rect">
            <a:avLst/>
          </a:prstGeom>
        </p:spPr>
        <p:txBody>
          <a:bodyPr vert="horz" wrap="square" lIns="0" tIns="120650" rIns="0" bIns="0" rtlCol="0" anchor="t">
            <a:spAutoFit/>
          </a:bodyPr>
          <a:lstStyle/>
          <a:p>
            <a:pPr algn="ctr">
              <a:lnSpc>
                <a:spcPct val="100000"/>
              </a:lnSpc>
              <a:spcBef>
                <a:spcPts val="950"/>
              </a:spcBef>
            </a:pPr>
            <a:r>
              <a:rPr lang="da-DK" sz="1500" b="1" dirty="0">
                <a:solidFill>
                  <a:schemeClr val="accent2"/>
                </a:solidFill>
                <a:latin typeface="TDC NET"/>
                <a:cs typeface="TDC NET"/>
              </a:rPr>
              <a:t>Den </a:t>
            </a:r>
            <a:r>
              <a:rPr lang="da-DK" sz="1500" b="1" spc="-10" dirty="0">
                <a:solidFill>
                  <a:schemeClr val="accent2"/>
                </a:solidFill>
                <a:latin typeface="TDC NET"/>
                <a:cs typeface="TDC NET"/>
              </a:rPr>
              <a:t>første</a:t>
            </a:r>
            <a:r>
              <a:rPr lang="da-DK" sz="1500" b="1" spc="-55" dirty="0">
                <a:solidFill>
                  <a:schemeClr val="accent2"/>
                </a:solidFill>
                <a:latin typeface="TDC NET"/>
                <a:cs typeface="TDC NET"/>
              </a:rPr>
              <a:t> </a:t>
            </a:r>
            <a:r>
              <a:rPr lang="da-DK" sz="1500" b="1" spc="-15" dirty="0">
                <a:solidFill>
                  <a:schemeClr val="accent2"/>
                </a:solidFill>
                <a:latin typeface="TDC NET"/>
                <a:cs typeface="TDC NET"/>
              </a:rPr>
              <a:t>telefon</a:t>
            </a:r>
            <a:endParaRPr lang="da-DK" sz="1500" dirty="0">
              <a:solidFill>
                <a:schemeClr val="accent2"/>
              </a:solidFill>
              <a:latin typeface="TDC NET"/>
              <a:cs typeface="TDC NET"/>
            </a:endParaRPr>
          </a:p>
          <a:p>
            <a:pPr marL="97155" marR="89535" algn="ctr">
              <a:lnSpc>
                <a:spcPct val="108300"/>
              </a:lnSpc>
              <a:spcBef>
                <a:spcPts val="465"/>
              </a:spcBef>
            </a:pPr>
            <a:r>
              <a:rPr lang="da-DK" sz="1000" spc="-5" dirty="0">
                <a:solidFill>
                  <a:schemeClr val="accent2"/>
                </a:solidFill>
                <a:latin typeface="TDC NET"/>
                <a:cs typeface="TDC NET"/>
              </a:rPr>
              <a:t>Bell </a:t>
            </a:r>
            <a:r>
              <a:rPr lang="da-DK" sz="1000" spc="-15" dirty="0">
                <a:solidFill>
                  <a:schemeClr val="accent2"/>
                </a:solidFill>
                <a:latin typeface="TDC NET"/>
                <a:cs typeface="TDC NET"/>
              </a:rPr>
              <a:t>Telephone </a:t>
            </a:r>
            <a:r>
              <a:rPr lang="da-DK" sz="1000" spc="-10" dirty="0">
                <a:solidFill>
                  <a:schemeClr val="accent2"/>
                </a:solidFill>
                <a:latin typeface="TDC NET"/>
                <a:cs typeface="TDC NET"/>
              </a:rPr>
              <a:t>Co.</a:t>
            </a:r>
            <a:r>
              <a:rPr lang="da-DK" sz="1000" spc="-100" dirty="0">
                <a:solidFill>
                  <a:schemeClr val="accent2"/>
                </a:solidFill>
                <a:latin typeface="TDC NET"/>
                <a:cs typeface="TDC NET"/>
              </a:rPr>
              <a:t> </a:t>
            </a:r>
            <a:r>
              <a:rPr lang="da-DK" sz="1000" dirty="0">
                <a:solidFill>
                  <a:schemeClr val="accent2"/>
                </a:solidFill>
                <a:latin typeface="TDC NET"/>
                <a:cs typeface="TDC NET"/>
              </a:rPr>
              <a:t>åbner  i Danmark - </a:t>
            </a:r>
            <a:r>
              <a:rPr lang="da-DK" sz="1000" spc="-5" dirty="0">
                <a:solidFill>
                  <a:schemeClr val="accent2"/>
                </a:solidFill>
                <a:latin typeface="TDC NET"/>
                <a:cs typeface="TDC NET"/>
              </a:rPr>
              <a:t>tre </a:t>
            </a:r>
            <a:r>
              <a:rPr lang="da-DK" sz="1000" dirty="0" err="1">
                <a:solidFill>
                  <a:schemeClr val="accent2"/>
                </a:solidFill>
                <a:latin typeface="TDC NET"/>
                <a:cs typeface="TDC NET"/>
              </a:rPr>
              <a:t>år</a:t>
            </a:r>
            <a:r>
              <a:rPr lang="da-DK" sz="1000" dirty="0">
                <a:solidFill>
                  <a:schemeClr val="accent2"/>
                </a:solidFill>
                <a:latin typeface="TDC NET"/>
                <a:cs typeface="TDC NET"/>
              </a:rPr>
              <a:t> </a:t>
            </a:r>
            <a:r>
              <a:rPr lang="da-DK" sz="1000" spc="-20" dirty="0" err="1">
                <a:solidFill>
                  <a:schemeClr val="accent2"/>
                </a:solidFill>
                <a:latin typeface="TDC NET"/>
                <a:cs typeface="TDC NET"/>
              </a:rPr>
              <a:t>efter</a:t>
            </a:r>
            <a:r>
              <a:rPr lang="da-DK" sz="1000" spc="-20" dirty="0">
                <a:solidFill>
                  <a:schemeClr val="accent2"/>
                </a:solidFill>
                <a:latin typeface="TDC NET"/>
                <a:cs typeface="TDC NET"/>
              </a:rPr>
              <a:t>  </a:t>
            </a:r>
            <a:r>
              <a:rPr lang="da-DK" sz="1000" spc="-5" dirty="0">
                <a:solidFill>
                  <a:schemeClr val="accent2"/>
                </a:solidFill>
                <a:latin typeface="TDC NET"/>
                <a:cs typeface="TDC NET"/>
              </a:rPr>
              <a:t>opfindelsen </a:t>
            </a:r>
            <a:r>
              <a:rPr lang="da-DK" sz="1000" dirty="0">
                <a:solidFill>
                  <a:schemeClr val="accent2"/>
                </a:solidFill>
                <a:latin typeface="TDC NET"/>
                <a:cs typeface="TDC NET"/>
              </a:rPr>
              <a:t>af</a:t>
            </a:r>
            <a:r>
              <a:rPr lang="da-DK" sz="1000" spc="-50" dirty="0">
                <a:solidFill>
                  <a:schemeClr val="accent2"/>
                </a:solidFill>
                <a:latin typeface="TDC NET"/>
                <a:cs typeface="TDC NET"/>
              </a:rPr>
              <a:t> </a:t>
            </a:r>
            <a:r>
              <a:rPr lang="da-DK" sz="1000" spc="-10" dirty="0">
                <a:solidFill>
                  <a:schemeClr val="accent2"/>
                </a:solidFill>
                <a:latin typeface="TDC NET"/>
                <a:cs typeface="TDC NET"/>
              </a:rPr>
              <a:t>telefonen</a:t>
            </a:r>
            <a:r>
              <a:rPr lang="da-DK" sz="1000" spc="-10">
                <a:solidFill>
                  <a:schemeClr val="accent2"/>
                </a:solidFill>
                <a:latin typeface="TDC NET"/>
                <a:cs typeface="TDC NET"/>
              </a:rPr>
              <a:t> </a:t>
            </a:r>
            <a:r>
              <a:rPr lang="da-DK" sz="1000" spc="-10" dirty="0">
                <a:solidFill>
                  <a:schemeClr val="accent2"/>
                </a:solidFill>
                <a:latin typeface="TDC NET"/>
                <a:cs typeface="TDC NET"/>
              </a:rPr>
              <a:t>i</a:t>
            </a:r>
            <a:r>
              <a:rPr lang="da-DK" sz="1000" spc="-10">
                <a:solidFill>
                  <a:schemeClr val="accent2"/>
                </a:solidFill>
                <a:latin typeface="TDC NET"/>
                <a:cs typeface="TDC NET"/>
              </a:rPr>
              <a:t> 1876</a:t>
            </a:r>
            <a:r>
              <a:rPr lang="da-DK" sz="1000" spc="-10" dirty="0">
                <a:solidFill>
                  <a:schemeClr val="accent2"/>
                </a:solidFill>
                <a:latin typeface="TDC NET"/>
                <a:cs typeface="TDC NET"/>
              </a:rPr>
              <a:t>.</a:t>
            </a:r>
            <a:endParaRPr lang="da-DK" sz="1000" dirty="0">
              <a:solidFill>
                <a:schemeClr val="accent2"/>
              </a:solidFill>
              <a:latin typeface="TDC NET"/>
              <a:cs typeface="TDC NET"/>
            </a:endParaRPr>
          </a:p>
        </p:txBody>
      </p:sp>
      <p:sp>
        <p:nvSpPr>
          <p:cNvPr id="33" name="object 3">
            <a:extLst>
              <a:ext uri="{FF2B5EF4-FFF2-40B4-BE49-F238E27FC236}">
                <a16:creationId xmlns:a16="http://schemas.microsoft.com/office/drawing/2014/main" id="{165065A9-0F02-124F-8FAD-A48F63FEA272}"/>
              </a:ext>
            </a:extLst>
          </p:cNvPr>
          <p:cNvSpPr txBox="1"/>
          <p:nvPr/>
        </p:nvSpPr>
        <p:spPr>
          <a:xfrm>
            <a:off x="1925420" y="1064067"/>
            <a:ext cx="2762849" cy="1272143"/>
          </a:xfrm>
          <a:prstGeom prst="rect">
            <a:avLst/>
          </a:prstGeom>
        </p:spPr>
        <p:txBody>
          <a:bodyPr vert="horz" wrap="square" lIns="0" tIns="40640" rIns="0" bIns="0" rtlCol="0">
            <a:spAutoFit/>
          </a:bodyPr>
          <a:lstStyle/>
          <a:p>
            <a:pPr algn="ctr"/>
            <a:r>
              <a:rPr lang="da-DK" sz="1500" b="1" dirty="0">
                <a:solidFill>
                  <a:schemeClr val="accent2"/>
                </a:solidFill>
              </a:rPr>
              <a:t>Det første </a:t>
            </a:r>
            <a:br>
              <a:rPr lang="da-DK" sz="1500" b="1" dirty="0">
                <a:solidFill>
                  <a:schemeClr val="accent2"/>
                </a:solidFill>
              </a:rPr>
            </a:br>
            <a:r>
              <a:rPr lang="da-DK" sz="1500" b="1" dirty="0">
                <a:solidFill>
                  <a:schemeClr val="accent2"/>
                </a:solidFill>
              </a:rPr>
              <a:t>danske teleselskab</a:t>
            </a:r>
            <a:endParaRPr lang="da-DK" sz="1500" dirty="0">
              <a:solidFill>
                <a:schemeClr val="accent2"/>
              </a:solidFill>
            </a:endParaRPr>
          </a:p>
          <a:p>
            <a:pPr algn="ctr"/>
            <a:r>
              <a:rPr lang="da-DK" sz="1000" dirty="0">
                <a:solidFill>
                  <a:schemeClr val="accent2"/>
                </a:solidFill>
              </a:rPr>
              <a:t>Forretningsmanden C.F. Tietgen køber Bell og grundlægger </a:t>
            </a:r>
            <a:r>
              <a:rPr lang="da-DK" sz="1000" dirty="0" err="1">
                <a:solidFill>
                  <a:schemeClr val="accent2"/>
                </a:solidFill>
              </a:rPr>
              <a:t>Kjøbenhavns</a:t>
            </a:r>
            <a:r>
              <a:rPr lang="da-DK" sz="1000" dirty="0">
                <a:solidFill>
                  <a:schemeClr val="accent2"/>
                </a:solidFill>
              </a:rPr>
              <a:t> </a:t>
            </a:r>
            <a:r>
              <a:rPr lang="da-DK" sz="1000" dirty="0" err="1">
                <a:solidFill>
                  <a:schemeClr val="accent2"/>
                </a:solidFill>
              </a:rPr>
              <a:t>Telefon-Selskab</a:t>
            </a:r>
            <a:r>
              <a:rPr lang="da-DK" sz="1000" dirty="0">
                <a:solidFill>
                  <a:schemeClr val="accent2"/>
                </a:solidFill>
              </a:rPr>
              <a:t>, som senere bliver til KTAS. Allerede i 1890’erne er der 57 teleselskaber, og i 1899 </a:t>
            </a:r>
            <a:br>
              <a:rPr lang="da-DK" sz="1000" dirty="0">
                <a:solidFill>
                  <a:schemeClr val="accent2"/>
                </a:solidFill>
              </a:rPr>
            </a:br>
            <a:r>
              <a:rPr lang="da-DK" sz="1000" dirty="0">
                <a:solidFill>
                  <a:schemeClr val="accent2"/>
                </a:solidFill>
              </a:rPr>
              <a:t>får staten monopol på telefonien. </a:t>
            </a:r>
          </a:p>
        </p:txBody>
      </p:sp>
      <p:sp>
        <p:nvSpPr>
          <p:cNvPr id="35" name="object 4">
            <a:extLst>
              <a:ext uri="{FF2B5EF4-FFF2-40B4-BE49-F238E27FC236}">
                <a16:creationId xmlns:a16="http://schemas.microsoft.com/office/drawing/2014/main" id="{3E4C41EC-BB1B-DD43-A132-2F6745B3B3FA}"/>
              </a:ext>
            </a:extLst>
          </p:cNvPr>
          <p:cNvSpPr txBox="1"/>
          <p:nvPr/>
        </p:nvSpPr>
        <p:spPr>
          <a:xfrm>
            <a:off x="6475525" y="1753977"/>
            <a:ext cx="1784350" cy="1507490"/>
          </a:xfrm>
          <a:prstGeom prst="rect">
            <a:avLst/>
          </a:prstGeom>
        </p:spPr>
        <p:txBody>
          <a:bodyPr vert="horz" wrap="square" lIns="0" tIns="40640" rIns="0" bIns="0" rtlCol="0">
            <a:spAutoFit/>
          </a:bodyPr>
          <a:lstStyle/>
          <a:p>
            <a:pPr marL="346075" marR="338455" algn="ctr">
              <a:lnSpc>
                <a:spcPts val="1600"/>
              </a:lnSpc>
              <a:spcBef>
                <a:spcPts val="320"/>
              </a:spcBef>
            </a:pPr>
            <a:r>
              <a:rPr lang="da-DK" sz="1500" b="1" dirty="0">
                <a:solidFill>
                  <a:schemeClr val="accent2"/>
                </a:solidFill>
                <a:latin typeface="TDC NET"/>
                <a:cs typeface="TDC NET"/>
              </a:rPr>
              <a:t>Et</a:t>
            </a:r>
            <a:r>
              <a:rPr lang="da-DK" sz="1500" b="1" spc="-60" dirty="0">
                <a:solidFill>
                  <a:schemeClr val="accent2"/>
                </a:solidFill>
                <a:latin typeface="TDC NET"/>
                <a:cs typeface="TDC NET"/>
              </a:rPr>
              <a:t> </a:t>
            </a:r>
            <a:r>
              <a:rPr lang="da-DK" sz="1500" b="1" spc="-5" dirty="0">
                <a:solidFill>
                  <a:schemeClr val="accent2"/>
                </a:solidFill>
                <a:latin typeface="TDC NET"/>
                <a:cs typeface="TDC NET"/>
              </a:rPr>
              <a:t>statsejet  </a:t>
            </a:r>
            <a:r>
              <a:rPr lang="da-DK" sz="1500" b="1" spc="-10" dirty="0">
                <a:solidFill>
                  <a:schemeClr val="accent2"/>
                </a:solidFill>
                <a:latin typeface="TDC NET"/>
                <a:cs typeface="TDC NET"/>
              </a:rPr>
              <a:t>teleselskab</a:t>
            </a:r>
            <a:endParaRPr lang="da-DK" sz="1500" dirty="0">
              <a:solidFill>
                <a:schemeClr val="accent2"/>
              </a:solidFill>
              <a:latin typeface="TDC NET"/>
              <a:cs typeface="TDC NET"/>
            </a:endParaRPr>
          </a:p>
          <a:p>
            <a:pPr marL="12700" marR="5080" indent="-635" algn="ctr">
              <a:lnSpc>
                <a:spcPct val="108300"/>
              </a:lnSpc>
              <a:spcBef>
                <a:spcPts val="445"/>
              </a:spcBef>
            </a:pPr>
            <a:r>
              <a:rPr lang="da-DK" sz="1000" dirty="0">
                <a:solidFill>
                  <a:schemeClr val="accent2"/>
                </a:solidFill>
                <a:latin typeface="TDC NET"/>
                <a:cs typeface="TDC NET"/>
              </a:rPr>
              <a:t>De </a:t>
            </a:r>
            <a:r>
              <a:rPr lang="da-DK" sz="1000" spc="-5" dirty="0">
                <a:solidFill>
                  <a:schemeClr val="accent2"/>
                </a:solidFill>
                <a:latin typeface="TDC NET"/>
                <a:cs typeface="TDC NET"/>
              </a:rPr>
              <a:t>regionale teleselskaber  samles </a:t>
            </a:r>
            <a:r>
              <a:rPr lang="da-DK" sz="1000" dirty="0">
                <a:solidFill>
                  <a:schemeClr val="accent2"/>
                </a:solidFill>
                <a:latin typeface="TDC NET"/>
                <a:cs typeface="TDC NET"/>
              </a:rPr>
              <a:t>i </a:t>
            </a:r>
            <a:r>
              <a:rPr lang="da-DK" sz="1000" spc="-5" dirty="0">
                <a:solidFill>
                  <a:schemeClr val="accent2"/>
                </a:solidFill>
                <a:latin typeface="TDC NET"/>
                <a:cs typeface="TDC NET"/>
              </a:rPr>
              <a:t>ét statsejet selskab:  </a:t>
            </a:r>
            <a:r>
              <a:rPr lang="da-DK" sz="1000" spc="-35" dirty="0">
                <a:solidFill>
                  <a:schemeClr val="accent2"/>
                </a:solidFill>
                <a:latin typeface="TDC NET"/>
                <a:cs typeface="TDC NET"/>
              </a:rPr>
              <a:t>Tele </a:t>
            </a:r>
            <a:r>
              <a:rPr lang="da-DK" sz="1000" dirty="0">
                <a:solidFill>
                  <a:schemeClr val="accent2"/>
                </a:solidFill>
                <a:latin typeface="TDC NET"/>
                <a:cs typeface="TDC NET"/>
              </a:rPr>
              <a:t>Danmark. Op </a:t>
            </a:r>
            <a:r>
              <a:rPr lang="da-DK" sz="1000" spc="-5" dirty="0" err="1">
                <a:solidFill>
                  <a:schemeClr val="accent2"/>
                </a:solidFill>
                <a:latin typeface="TDC NET"/>
                <a:cs typeface="TDC NET"/>
              </a:rPr>
              <a:t>gennem</a:t>
            </a:r>
            <a:r>
              <a:rPr lang="da-DK" sz="1000" spc="-5" dirty="0">
                <a:solidFill>
                  <a:schemeClr val="accent2"/>
                </a:solidFill>
                <a:latin typeface="TDC NET"/>
                <a:cs typeface="TDC NET"/>
              </a:rPr>
              <a:t>  </a:t>
            </a:r>
            <a:r>
              <a:rPr lang="da-DK" sz="1000" dirty="0">
                <a:solidFill>
                  <a:schemeClr val="accent2"/>
                </a:solidFill>
                <a:latin typeface="TDC NET"/>
                <a:cs typeface="TDC NET"/>
              </a:rPr>
              <a:t>1990'erne </a:t>
            </a:r>
            <a:r>
              <a:rPr lang="da-DK" sz="1000" spc="-5" dirty="0">
                <a:solidFill>
                  <a:schemeClr val="accent2"/>
                </a:solidFill>
                <a:latin typeface="TDC NET"/>
                <a:cs typeface="TDC NET"/>
              </a:rPr>
              <a:t>bliver</a:t>
            </a:r>
            <a:r>
              <a:rPr lang="da-DK" sz="1000" spc="-65" dirty="0">
                <a:solidFill>
                  <a:schemeClr val="accent2"/>
                </a:solidFill>
                <a:latin typeface="TDC NET"/>
                <a:cs typeface="TDC NET"/>
              </a:rPr>
              <a:t> </a:t>
            </a:r>
            <a:r>
              <a:rPr lang="da-DK" sz="1000" spc="-10" dirty="0">
                <a:solidFill>
                  <a:schemeClr val="accent2"/>
                </a:solidFill>
                <a:latin typeface="TDC NET"/>
                <a:cs typeface="TDC NET"/>
              </a:rPr>
              <a:t>mobiltelefoni  </a:t>
            </a:r>
            <a:r>
              <a:rPr lang="da-DK" sz="1000" dirty="0">
                <a:solidFill>
                  <a:schemeClr val="accent2"/>
                </a:solidFill>
                <a:latin typeface="TDC NET"/>
                <a:cs typeface="TDC NET"/>
              </a:rPr>
              <a:t>og </a:t>
            </a:r>
            <a:r>
              <a:rPr lang="da-DK" sz="1000" spc="-15" dirty="0">
                <a:solidFill>
                  <a:schemeClr val="accent2"/>
                </a:solidFill>
                <a:latin typeface="TDC NET"/>
                <a:cs typeface="TDC NET"/>
              </a:rPr>
              <a:t>kabel-tv </a:t>
            </a:r>
            <a:r>
              <a:rPr lang="da-DK" sz="1000" dirty="0">
                <a:solidFill>
                  <a:schemeClr val="accent2"/>
                </a:solidFill>
                <a:latin typeface="TDC NET"/>
                <a:cs typeface="TDC NET"/>
              </a:rPr>
              <a:t>en del af </a:t>
            </a:r>
            <a:r>
              <a:rPr lang="da-DK" sz="1000" spc="-5" dirty="0">
                <a:solidFill>
                  <a:schemeClr val="accent2"/>
                </a:solidFill>
                <a:latin typeface="TDC NET"/>
                <a:cs typeface="TDC NET"/>
              </a:rPr>
              <a:t>dan-  skernes</a:t>
            </a:r>
            <a:r>
              <a:rPr lang="da-DK" sz="1000" spc="-10" dirty="0">
                <a:solidFill>
                  <a:schemeClr val="accent2"/>
                </a:solidFill>
                <a:latin typeface="TDC NET"/>
                <a:cs typeface="TDC NET"/>
              </a:rPr>
              <a:t> hverdag.</a:t>
            </a:r>
            <a:endParaRPr lang="da-DK" sz="1000" dirty="0">
              <a:solidFill>
                <a:schemeClr val="accent2"/>
              </a:solidFill>
              <a:latin typeface="TDC NET"/>
              <a:cs typeface="TDC NET"/>
            </a:endParaRPr>
          </a:p>
        </p:txBody>
      </p:sp>
      <p:sp>
        <p:nvSpPr>
          <p:cNvPr id="37" name="object 5">
            <a:extLst>
              <a:ext uri="{FF2B5EF4-FFF2-40B4-BE49-F238E27FC236}">
                <a16:creationId xmlns:a16="http://schemas.microsoft.com/office/drawing/2014/main" id="{A01330D4-58A1-D54A-A56E-D94C0E07062C}"/>
              </a:ext>
            </a:extLst>
          </p:cNvPr>
          <p:cNvSpPr txBox="1"/>
          <p:nvPr/>
        </p:nvSpPr>
        <p:spPr>
          <a:xfrm>
            <a:off x="7511531" y="4933767"/>
            <a:ext cx="2101215" cy="1342390"/>
          </a:xfrm>
          <a:prstGeom prst="rect">
            <a:avLst/>
          </a:prstGeom>
        </p:spPr>
        <p:txBody>
          <a:bodyPr vert="horz" wrap="square" lIns="0" tIns="40640" rIns="0" bIns="0" rtlCol="0">
            <a:spAutoFit/>
          </a:bodyPr>
          <a:lstStyle/>
          <a:p>
            <a:pPr marL="133350" marR="125730" algn="ctr">
              <a:lnSpc>
                <a:spcPts val="1600"/>
              </a:lnSpc>
              <a:spcBef>
                <a:spcPts val="320"/>
              </a:spcBef>
            </a:pPr>
            <a:r>
              <a:rPr lang="da-DK" sz="1500" b="1" spc="-45" dirty="0">
                <a:solidFill>
                  <a:schemeClr val="accent2"/>
                </a:solidFill>
                <a:latin typeface="TDC NET"/>
                <a:cs typeface="TDC NET"/>
              </a:rPr>
              <a:t>Tele </a:t>
            </a:r>
            <a:r>
              <a:rPr lang="da-DK" sz="1500" b="1" dirty="0">
                <a:solidFill>
                  <a:schemeClr val="accent2"/>
                </a:solidFill>
                <a:latin typeface="TDC NET"/>
                <a:cs typeface="TDC NET"/>
              </a:rPr>
              <a:t>Danmark  </a:t>
            </a:r>
            <a:r>
              <a:rPr lang="da-DK" sz="1500" b="1" spc="-5" dirty="0">
                <a:solidFill>
                  <a:schemeClr val="accent2"/>
                </a:solidFill>
                <a:latin typeface="TDC NET"/>
                <a:cs typeface="TDC NET"/>
              </a:rPr>
              <a:t>bliver </a:t>
            </a:r>
            <a:r>
              <a:rPr lang="da-DK" sz="1500" b="1" spc="-10" dirty="0">
                <a:solidFill>
                  <a:schemeClr val="accent2"/>
                </a:solidFill>
                <a:latin typeface="TDC NET"/>
                <a:cs typeface="TDC NET"/>
              </a:rPr>
              <a:t>til </a:t>
            </a:r>
            <a:r>
              <a:rPr lang="da-DK" sz="1500" b="1" dirty="0">
                <a:solidFill>
                  <a:schemeClr val="accent2"/>
                </a:solidFill>
                <a:latin typeface="TDC NET"/>
                <a:cs typeface="TDC NET"/>
              </a:rPr>
              <a:t>TDC</a:t>
            </a:r>
            <a:r>
              <a:rPr lang="da-DK" sz="1500" b="1" spc="-114" dirty="0">
                <a:solidFill>
                  <a:schemeClr val="accent2"/>
                </a:solidFill>
                <a:latin typeface="TDC NET"/>
                <a:cs typeface="TDC NET"/>
              </a:rPr>
              <a:t> </a:t>
            </a:r>
            <a:r>
              <a:rPr lang="da-DK" sz="1500" b="1" spc="-5" dirty="0">
                <a:solidFill>
                  <a:schemeClr val="accent2"/>
                </a:solidFill>
                <a:latin typeface="TDC NET"/>
                <a:cs typeface="TDC NET"/>
              </a:rPr>
              <a:t>Group</a:t>
            </a:r>
            <a:endParaRPr lang="da-DK" sz="1500" dirty="0">
              <a:solidFill>
                <a:schemeClr val="accent2"/>
              </a:solidFill>
              <a:latin typeface="TDC NET"/>
              <a:cs typeface="TDC NET"/>
            </a:endParaRPr>
          </a:p>
          <a:p>
            <a:pPr marL="193040" marR="185420" algn="ctr">
              <a:lnSpc>
                <a:spcPct val="108300"/>
              </a:lnSpc>
              <a:spcBef>
                <a:spcPts val="445"/>
              </a:spcBef>
            </a:pPr>
            <a:r>
              <a:rPr lang="da-DK" sz="1000" spc="-5" dirty="0">
                <a:solidFill>
                  <a:schemeClr val="accent2"/>
                </a:solidFill>
                <a:latin typeface="TDC NET"/>
                <a:cs typeface="TDC NET"/>
              </a:rPr>
              <a:t>Statsmonopolet </a:t>
            </a:r>
            <a:r>
              <a:rPr lang="da-DK" sz="1000" dirty="0">
                <a:solidFill>
                  <a:schemeClr val="accent2"/>
                </a:solidFill>
                <a:latin typeface="TDC NET"/>
                <a:cs typeface="TDC NET"/>
              </a:rPr>
              <a:t>på </a:t>
            </a:r>
            <a:r>
              <a:rPr lang="da-DK" sz="1000" spc="-10" dirty="0">
                <a:solidFill>
                  <a:schemeClr val="accent2"/>
                </a:solidFill>
                <a:latin typeface="TDC NET"/>
                <a:cs typeface="TDC NET"/>
              </a:rPr>
              <a:t>telefoni  </a:t>
            </a:r>
            <a:r>
              <a:rPr lang="da-DK" sz="1000" spc="-5" dirty="0">
                <a:solidFill>
                  <a:schemeClr val="accent2"/>
                </a:solidFill>
                <a:latin typeface="TDC NET"/>
                <a:cs typeface="TDC NET"/>
              </a:rPr>
              <a:t>ophører </a:t>
            </a:r>
            <a:r>
              <a:rPr lang="da-DK" sz="1000" dirty="0">
                <a:solidFill>
                  <a:schemeClr val="accent2"/>
                </a:solidFill>
                <a:latin typeface="TDC NET"/>
                <a:cs typeface="TDC NET"/>
              </a:rPr>
              <a:t>i 1996. I 2000</a:t>
            </a:r>
            <a:r>
              <a:rPr lang="da-DK" sz="1000" spc="-100" dirty="0">
                <a:solidFill>
                  <a:schemeClr val="accent2"/>
                </a:solidFill>
                <a:latin typeface="TDC NET"/>
                <a:cs typeface="TDC NET"/>
              </a:rPr>
              <a:t> </a:t>
            </a:r>
            <a:r>
              <a:rPr lang="da-DK" sz="1000" spc="-15" dirty="0">
                <a:solidFill>
                  <a:schemeClr val="accent2"/>
                </a:solidFill>
                <a:latin typeface="TDC NET"/>
                <a:cs typeface="TDC NET"/>
              </a:rPr>
              <a:t>skifter</a:t>
            </a:r>
            <a:endParaRPr lang="da-DK" sz="1000" dirty="0">
              <a:solidFill>
                <a:schemeClr val="accent2"/>
              </a:solidFill>
              <a:latin typeface="TDC NET"/>
              <a:cs typeface="TDC NET"/>
            </a:endParaRPr>
          </a:p>
          <a:p>
            <a:pPr marL="12065" marR="5080" algn="ctr">
              <a:lnSpc>
                <a:spcPct val="108300"/>
              </a:lnSpc>
            </a:pPr>
            <a:r>
              <a:rPr lang="da-DK" sz="1000" spc="-35" dirty="0">
                <a:solidFill>
                  <a:schemeClr val="accent2"/>
                </a:solidFill>
                <a:latin typeface="TDC NET"/>
                <a:cs typeface="TDC NET"/>
              </a:rPr>
              <a:t>Tele </a:t>
            </a:r>
            <a:r>
              <a:rPr lang="da-DK" sz="1000" dirty="0">
                <a:solidFill>
                  <a:schemeClr val="accent2"/>
                </a:solidFill>
                <a:latin typeface="TDC NET"/>
                <a:cs typeface="TDC NET"/>
              </a:rPr>
              <a:t>Danmark navn </a:t>
            </a:r>
            <a:r>
              <a:rPr lang="da-DK" sz="1000" spc="-10" dirty="0">
                <a:solidFill>
                  <a:schemeClr val="accent2"/>
                </a:solidFill>
                <a:latin typeface="TDC NET"/>
                <a:cs typeface="TDC NET"/>
              </a:rPr>
              <a:t>til </a:t>
            </a:r>
            <a:r>
              <a:rPr lang="da-DK" sz="1000" dirty="0">
                <a:solidFill>
                  <a:schemeClr val="accent2"/>
                </a:solidFill>
                <a:latin typeface="TDC NET"/>
                <a:cs typeface="TDC NET"/>
              </a:rPr>
              <a:t>TDC</a:t>
            </a:r>
            <a:r>
              <a:rPr lang="da-DK" sz="1000" spc="-45" dirty="0">
                <a:solidFill>
                  <a:schemeClr val="accent2"/>
                </a:solidFill>
                <a:latin typeface="TDC NET"/>
                <a:cs typeface="TDC NET"/>
              </a:rPr>
              <a:t> </a:t>
            </a:r>
            <a:r>
              <a:rPr lang="da-DK" sz="1000" spc="-10" dirty="0">
                <a:solidFill>
                  <a:schemeClr val="accent2"/>
                </a:solidFill>
                <a:latin typeface="TDC NET"/>
                <a:cs typeface="TDC NET"/>
              </a:rPr>
              <a:t>Group,  </a:t>
            </a:r>
            <a:r>
              <a:rPr lang="da-DK" sz="1000" dirty="0">
                <a:solidFill>
                  <a:schemeClr val="accent2"/>
                </a:solidFill>
                <a:latin typeface="TDC NET"/>
                <a:cs typeface="TDC NET"/>
              </a:rPr>
              <a:t>som i de </a:t>
            </a:r>
            <a:r>
              <a:rPr lang="da-DK" sz="1000" spc="-5" dirty="0">
                <a:solidFill>
                  <a:schemeClr val="accent2"/>
                </a:solidFill>
                <a:latin typeface="TDC NET"/>
                <a:cs typeface="TDC NET"/>
              </a:rPr>
              <a:t>kommende </a:t>
            </a:r>
            <a:r>
              <a:rPr lang="da-DK" sz="1000" dirty="0">
                <a:solidFill>
                  <a:schemeClr val="accent2"/>
                </a:solidFill>
                <a:latin typeface="TDC NET"/>
                <a:cs typeface="TDC NET"/>
              </a:rPr>
              <a:t>år </a:t>
            </a:r>
            <a:r>
              <a:rPr lang="da-DK" sz="1000" spc="-5" dirty="0">
                <a:solidFill>
                  <a:schemeClr val="accent2"/>
                </a:solidFill>
                <a:latin typeface="TDC NET"/>
                <a:cs typeface="TDC NET"/>
              </a:rPr>
              <a:t>opkøber  </a:t>
            </a:r>
            <a:r>
              <a:rPr lang="da-DK" sz="1000" dirty="0">
                <a:solidFill>
                  <a:schemeClr val="accent2"/>
                </a:solidFill>
                <a:latin typeface="TDC NET"/>
                <a:cs typeface="TDC NET"/>
              </a:rPr>
              <a:t>en </a:t>
            </a:r>
            <a:r>
              <a:rPr lang="da-DK" sz="1000" spc="-10" dirty="0">
                <a:solidFill>
                  <a:schemeClr val="accent2"/>
                </a:solidFill>
                <a:latin typeface="TDC NET"/>
                <a:cs typeface="TDC NET"/>
              </a:rPr>
              <a:t>række</a:t>
            </a:r>
            <a:r>
              <a:rPr lang="da-DK" sz="1000" spc="-15" dirty="0">
                <a:solidFill>
                  <a:schemeClr val="accent2"/>
                </a:solidFill>
                <a:latin typeface="TDC NET"/>
                <a:cs typeface="TDC NET"/>
              </a:rPr>
              <a:t> </a:t>
            </a:r>
            <a:r>
              <a:rPr lang="da-DK" sz="1000" spc="-5" dirty="0">
                <a:solidFill>
                  <a:schemeClr val="accent2"/>
                </a:solidFill>
                <a:latin typeface="TDC NET"/>
                <a:cs typeface="TDC NET"/>
              </a:rPr>
              <a:t>serviceudbydere.</a:t>
            </a:r>
            <a:endParaRPr lang="da-DK" sz="1000" dirty="0">
              <a:solidFill>
                <a:schemeClr val="accent2"/>
              </a:solidFill>
              <a:latin typeface="TDC NET"/>
              <a:cs typeface="TDC NET"/>
            </a:endParaRPr>
          </a:p>
        </p:txBody>
      </p:sp>
      <p:sp>
        <p:nvSpPr>
          <p:cNvPr id="39" name="object 6">
            <a:extLst>
              <a:ext uri="{FF2B5EF4-FFF2-40B4-BE49-F238E27FC236}">
                <a16:creationId xmlns:a16="http://schemas.microsoft.com/office/drawing/2014/main" id="{32E19537-1047-0A41-B143-F6FF0C5399C9}"/>
              </a:ext>
            </a:extLst>
          </p:cNvPr>
          <p:cNvSpPr txBox="1"/>
          <p:nvPr/>
        </p:nvSpPr>
        <p:spPr>
          <a:xfrm>
            <a:off x="8630798" y="1219909"/>
            <a:ext cx="2228705" cy="1168012"/>
          </a:xfrm>
          <a:prstGeom prst="rect">
            <a:avLst/>
          </a:prstGeom>
        </p:spPr>
        <p:txBody>
          <a:bodyPr vert="horz" wrap="square" lIns="0" tIns="40640" rIns="0" bIns="0" rtlCol="0" anchor="t">
            <a:spAutoFit/>
          </a:bodyPr>
          <a:lstStyle/>
          <a:p>
            <a:pPr marL="31750" marR="24130" algn="ctr">
              <a:lnSpc>
                <a:spcPts val="1600"/>
              </a:lnSpc>
              <a:spcBef>
                <a:spcPts val="320"/>
              </a:spcBef>
            </a:pPr>
            <a:r>
              <a:rPr lang="da-DK" sz="1500" b="1" spc="-75" dirty="0">
                <a:solidFill>
                  <a:schemeClr val="accent2"/>
                </a:solidFill>
                <a:latin typeface="TDC NET"/>
                <a:cs typeface="TDC NET"/>
              </a:rPr>
              <a:t>To </a:t>
            </a:r>
            <a:r>
              <a:rPr lang="da-DK" sz="1500" b="1" dirty="0" err="1">
                <a:solidFill>
                  <a:schemeClr val="accent2"/>
                </a:solidFill>
                <a:latin typeface="TDC NET"/>
                <a:cs typeface="TDC NET"/>
              </a:rPr>
              <a:t>ny</a:t>
            </a:r>
            <a:r>
              <a:rPr lang="da-DK" sz="1500" b="1" dirty="0">
                <a:solidFill>
                  <a:schemeClr val="accent2"/>
                </a:solidFill>
                <a:latin typeface="TDC NET"/>
                <a:cs typeface="TDC NET"/>
              </a:rPr>
              <a:t>e </a:t>
            </a:r>
            <a:r>
              <a:rPr lang="da-DK" sz="1500" b="1" spc="-5" dirty="0">
                <a:solidFill>
                  <a:schemeClr val="accent2"/>
                </a:solidFill>
                <a:latin typeface="TDC NET"/>
                <a:cs typeface="TDC NET"/>
              </a:rPr>
              <a:t>selskaber </a:t>
            </a:r>
            <a:r>
              <a:rPr lang="da-DK" sz="1500" b="1" dirty="0">
                <a:solidFill>
                  <a:schemeClr val="accent2"/>
                </a:solidFill>
                <a:latin typeface="TDC NET"/>
                <a:cs typeface="TDC NET"/>
              </a:rPr>
              <a:t>under TDC</a:t>
            </a:r>
            <a:r>
              <a:rPr lang="da-DK" sz="1500" b="1" spc="-135" dirty="0">
                <a:solidFill>
                  <a:schemeClr val="accent2"/>
                </a:solidFill>
                <a:latin typeface="TDC NET"/>
                <a:cs typeface="TDC NET"/>
              </a:rPr>
              <a:t> </a:t>
            </a:r>
            <a:r>
              <a:rPr lang="da-DK" sz="1500" b="1" spc="-5" dirty="0">
                <a:solidFill>
                  <a:schemeClr val="accent2"/>
                </a:solidFill>
                <a:latin typeface="TDC NET"/>
                <a:cs typeface="TDC NET"/>
              </a:rPr>
              <a:t>Group</a:t>
            </a:r>
            <a:endParaRPr lang="da-DK" sz="1500" dirty="0">
              <a:solidFill>
                <a:schemeClr val="accent2"/>
              </a:solidFill>
              <a:latin typeface="TDC NET"/>
              <a:cs typeface="TDC NET"/>
            </a:endParaRPr>
          </a:p>
          <a:p>
            <a:pPr marL="12700" marR="5080" algn="ctr">
              <a:lnSpc>
                <a:spcPct val="108300"/>
              </a:lnSpc>
              <a:spcBef>
                <a:spcPts val="445"/>
              </a:spcBef>
            </a:pPr>
            <a:r>
              <a:rPr lang="da-DK" sz="1000" spc="-10" dirty="0">
                <a:solidFill>
                  <a:schemeClr val="accent2"/>
                </a:solidFill>
                <a:latin typeface="TDC NET"/>
                <a:cs typeface="TDC NET"/>
              </a:rPr>
              <a:t>Fra 2019 </a:t>
            </a:r>
            <a:r>
              <a:rPr lang="da-DK" sz="1000" dirty="0">
                <a:solidFill>
                  <a:schemeClr val="accent2"/>
                </a:solidFill>
                <a:latin typeface="TDC NET"/>
                <a:cs typeface="TDC NET"/>
              </a:rPr>
              <a:t>er der </a:t>
            </a:r>
            <a:r>
              <a:rPr lang="da-DK" sz="1000" spc="-10" dirty="0">
                <a:solidFill>
                  <a:schemeClr val="accent2"/>
                </a:solidFill>
                <a:latin typeface="TDC NET"/>
                <a:cs typeface="TDC NET"/>
              </a:rPr>
              <a:t>to  </a:t>
            </a:r>
            <a:r>
              <a:rPr lang="da-DK" sz="1000" dirty="0">
                <a:solidFill>
                  <a:schemeClr val="accent2"/>
                </a:solidFill>
                <a:latin typeface="TDC NET"/>
                <a:cs typeface="TDC NET"/>
              </a:rPr>
              <a:t>nye </a:t>
            </a:r>
            <a:r>
              <a:rPr lang="da-DK" sz="1000" spc="-5" dirty="0">
                <a:solidFill>
                  <a:schemeClr val="accent2"/>
                </a:solidFill>
                <a:latin typeface="TDC NET"/>
                <a:cs typeface="TDC NET"/>
              </a:rPr>
              <a:t>selvstændige</a:t>
            </a:r>
            <a:r>
              <a:rPr lang="da-DK" sz="1000" spc="-75" dirty="0">
                <a:solidFill>
                  <a:schemeClr val="accent2"/>
                </a:solidFill>
                <a:latin typeface="TDC NET"/>
                <a:cs typeface="TDC NET"/>
              </a:rPr>
              <a:t> </a:t>
            </a:r>
            <a:r>
              <a:rPr lang="da-DK" sz="1000" spc="-5" dirty="0">
                <a:solidFill>
                  <a:schemeClr val="accent2"/>
                </a:solidFill>
                <a:latin typeface="TDC NET"/>
                <a:cs typeface="TDC NET"/>
              </a:rPr>
              <a:t>selskaber  </a:t>
            </a:r>
            <a:r>
              <a:rPr lang="da-DK" sz="1000" dirty="0">
                <a:solidFill>
                  <a:schemeClr val="accent2"/>
                </a:solidFill>
                <a:latin typeface="TDC NET"/>
                <a:cs typeface="TDC NET"/>
              </a:rPr>
              <a:t>med </a:t>
            </a:r>
            <a:r>
              <a:rPr lang="da-DK" sz="1000" spc="-10" dirty="0">
                <a:solidFill>
                  <a:schemeClr val="accent2"/>
                </a:solidFill>
                <a:latin typeface="TDC NET"/>
                <a:cs typeface="TDC NET"/>
              </a:rPr>
              <a:t>hver </a:t>
            </a:r>
            <a:r>
              <a:rPr lang="da-DK" sz="1000" spc="-5" dirty="0">
                <a:solidFill>
                  <a:schemeClr val="accent2"/>
                </a:solidFill>
                <a:latin typeface="TDC NET"/>
                <a:cs typeface="TDC NET"/>
              </a:rPr>
              <a:t>sit </a:t>
            </a:r>
            <a:r>
              <a:rPr lang="da-DK" sz="1000" spc="-10" dirty="0">
                <a:solidFill>
                  <a:schemeClr val="accent2"/>
                </a:solidFill>
                <a:latin typeface="TDC NET"/>
                <a:cs typeface="TDC NET"/>
              </a:rPr>
              <a:t>fokus </a:t>
            </a:r>
            <a:r>
              <a:rPr lang="da-DK" sz="1000" dirty="0">
                <a:solidFill>
                  <a:schemeClr val="accent2"/>
                </a:solidFill>
                <a:latin typeface="TDC NET"/>
                <a:cs typeface="TDC NET"/>
              </a:rPr>
              <a:t>under  TDC </a:t>
            </a:r>
            <a:r>
              <a:rPr lang="da-DK" sz="1000" spc="-5" dirty="0">
                <a:solidFill>
                  <a:schemeClr val="accent2"/>
                </a:solidFill>
                <a:latin typeface="TDC NET"/>
                <a:cs typeface="TDC NET"/>
              </a:rPr>
              <a:t>Group: </a:t>
            </a:r>
            <a:r>
              <a:rPr lang="da-DK" sz="1000" dirty="0">
                <a:solidFill>
                  <a:schemeClr val="accent2"/>
                </a:solidFill>
                <a:latin typeface="TDC NET"/>
                <a:cs typeface="TDC NET"/>
              </a:rPr>
              <a:t>TDC</a:t>
            </a:r>
            <a:r>
              <a:rPr lang="da-DK" sz="1000" spc="-65" dirty="0">
                <a:solidFill>
                  <a:schemeClr val="accent2"/>
                </a:solidFill>
                <a:latin typeface="TDC NET"/>
                <a:cs typeface="TDC NET"/>
              </a:rPr>
              <a:t> </a:t>
            </a:r>
            <a:r>
              <a:rPr lang="da-DK" sz="1000" dirty="0">
                <a:solidFill>
                  <a:schemeClr val="accent2"/>
                </a:solidFill>
                <a:latin typeface="TDC NET"/>
                <a:cs typeface="TDC NET"/>
              </a:rPr>
              <a:t>NET</a:t>
            </a:r>
          </a:p>
          <a:p>
            <a:pPr algn="ctr">
              <a:lnSpc>
                <a:spcPct val="100000"/>
              </a:lnSpc>
              <a:spcBef>
                <a:spcPts val="100"/>
              </a:spcBef>
            </a:pPr>
            <a:r>
              <a:rPr lang="da-DK" sz="1000" dirty="0" err="1">
                <a:solidFill>
                  <a:schemeClr val="accent2"/>
                </a:solidFill>
                <a:latin typeface="TDC NET"/>
                <a:cs typeface="TDC NET"/>
              </a:rPr>
              <a:t>og</a:t>
            </a:r>
            <a:r>
              <a:rPr lang="da-DK" sz="1000" spc="-10" dirty="0">
                <a:solidFill>
                  <a:schemeClr val="accent2"/>
                </a:solidFill>
                <a:latin typeface="TDC NET"/>
                <a:cs typeface="TDC NET"/>
              </a:rPr>
              <a:t> </a:t>
            </a:r>
            <a:r>
              <a:rPr lang="da-DK" sz="1000" dirty="0" err="1">
                <a:solidFill>
                  <a:schemeClr val="accent2"/>
                </a:solidFill>
                <a:latin typeface="TDC NET"/>
                <a:cs typeface="TDC NET"/>
              </a:rPr>
              <a:t>Nuuday</a:t>
            </a:r>
            <a:r>
              <a:rPr lang="da-DK" sz="1000" dirty="0">
                <a:solidFill>
                  <a:schemeClr val="accent2"/>
                </a:solidFill>
                <a:latin typeface="TDC NET"/>
                <a:cs typeface="TDC NET"/>
              </a:rPr>
              <a:t>.</a:t>
            </a:r>
          </a:p>
        </p:txBody>
      </p:sp>
      <p:sp>
        <p:nvSpPr>
          <p:cNvPr id="40" name="object 7">
            <a:extLst>
              <a:ext uri="{FF2B5EF4-FFF2-40B4-BE49-F238E27FC236}">
                <a16:creationId xmlns:a16="http://schemas.microsoft.com/office/drawing/2014/main" id="{3C5B003C-F7D7-EB4B-8E3E-6D0E8F49A26B}"/>
              </a:ext>
            </a:extLst>
          </p:cNvPr>
          <p:cNvSpPr txBox="1"/>
          <p:nvPr/>
        </p:nvSpPr>
        <p:spPr>
          <a:xfrm>
            <a:off x="3635829" y="4680420"/>
            <a:ext cx="1950720" cy="1342390"/>
          </a:xfrm>
          <a:prstGeom prst="rect">
            <a:avLst/>
          </a:prstGeom>
        </p:spPr>
        <p:txBody>
          <a:bodyPr vert="horz" wrap="square" lIns="0" tIns="40640" rIns="0" bIns="0" rtlCol="0">
            <a:spAutoFit/>
          </a:bodyPr>
          <a:lstStyle/>
          <a:p>
            <a:pPr marL="12700" marR="5080" algn="ctr">
              <a:lnSpc>
                <a:spcPts val="1600"/>
              </a:lnSpc>
              <a:spcBef>
                <a:spcPts val="320"/>
              </a:spcBef>
            </a:pPr>
            <a:r>
              <a:rPr lang="da-DK" sz="1500" b="1" spc="-5" dirty="0">
                <a:solidFill>
                  <a:schemeClr val="accent2"/>
                </a:solidFill>
                <a:latin typeface="TDC NET"/>
                <a:cs typeface="TDC NET"/>
              </a:rPr>
              <a:t>Mange</a:t>
            </a:r>
            <a:r>
              <a:rPr lang="da-DK" sz="1500" b="1" spc="-100" dirty="0">
                <a:solidFill>
                  <a:schemeClr val="accent2"/>
                </a:solidFill>
                <a:latin typeface="TDC NET"/>
                <a:cs typeface="TDC NET"/>
              </a:rPr>
              <a:t> </a:t>
            </a:r>
            <a:r>
              <a:rPr lang="da-DK" sz="1500" b="1" spc="-5" dirty="0">
                <a:solidFill>
                  <a:schemeClr val="accent2"/>
                </a:solidFill>
                <a:latin typeface="TDC NET"/>
                <a:cs typeface="TDC NET"/>
              </a:rPr>
              <a:t>teleselskaber  bliver </a:t>
            </a:r>
            <a:r>
              <a:rPr lang="da-DK" sz="1500" b="1" spc="-10" dirty="0">
                <a:solidFill>
                  <a:schemeClr val="accent2"/>
                </a:solidFill>
                <a:latin typeface="TDC NET"/>
                <a:cs typeface="TDC NET"/>
              </a:rPr>
              <a:t>til</a:t>
            </a:r>
            <a:r>
              <a:rPr lang="da-DK" sz="1500" b="1" spc="-15" dirty="0">
                <a:solidFill>
                  <a:schemeClr val="accent2"/>
                </a:solidFill>
                <a:latin typeface="TDC NET"/>
                <a:cs typeface="TDC NET"/>
              </a:rPr>
              <a:t> få</a:t>
            </a:r>
            <a:endParaRPr lang="da-DK" sz="1500" dirty="0">
              <a:solidFill>
                <a:schemeClr val="accent2"/>
              </a:solidFill>
              <a:latin typeface="TDC NET"/>
              <a:cs typeface="TDC NET"/>
            </a:endParaRPr>
          </a:p>
          <a:p>
            <a:pPr marL="182880" marR="175260" indent="-635" algn="ctr">
              <a:lnSpc>
                <a:spcPct val="108300"/>
              </a:lnSpc>
              <a:spcBef>
                <a:spcPts val="445"/>
              </a:spcBef>
            </a:pPr>
            <a:r>
              <a:rPr lang="da-DK" sz="1000" spc="-5" dirty="0">
                <a:solidFill>
                  <a:schemeClr val="accent2"/>
                </a:solidFill>
                <a:latin typeface="TDC NET"/>
                <a:cs typeface="TDC NET"/>
              </a:rPr>
              <a:t>Mængden </a:t>
            </a:r>
            <a:r>
              <a:rPr lang="da-DK" sz="1000" dirty="0">
                <a:solidFill>
                  <a:schemeClr val="accent2"/>
                </a:solidFill>
                <a:latin typeface="TDC NET"/>
                <a:cs typeface="TDC NET"/>
              </a:rPr>
              <a:t>af små </a:t>
            </a:r>
            <a:r>
              <a:rPr lang="da-DK" sz="1000" spc="-10" dirty="0">
                <a:solidFill>
                  <a:schemeClr val="accent2"/>
                </a:solidFill>
                <a:latin typeface="TDC NET"/>
                <a:cs typeface="TDC NET"/>
              </a:rPr>
              <a:t>lokale  </a:t>
            </a:r>
            <a:r>
              <a:rPr lang="da-DK" sz="1000" spc="-5" dirty="0">
                <a:solidFill>
                  <a:schemeClr val="accent2"/>
                </a:solidFill>
                <a:latin typeface="TDC NET"/>
                <a:cs typeface="TDC NET"/>
              </a:rPr>
              <a:t>teleselskaber bliver </a:t>
            </a:r>
            <a:r>
              <a:rPr lang="da-DK" sz="1000" dirty="0">
                <a:solidFill>
                  <a:schemeClr val="accent2"/>
                </a:solidFill>
                <a:latin typeface="TDC NET"/>
                <a:cs typeface="TDC NET"/>
              </a:rPr>
              <a:t>i</a:t>
            </a:r>
            <a:r>
              <a:rPr lang="da-DK" sz="1000" spc="-70" dirty="0">
                <a:solidFill>
                  <a:schemeClr val="accent2"/>
                </a:solidFill>
                <a:latin typeface="TDC NET"/>
                <a:cs typeface="TDC NET"/>
              </a:rPr>
              <a:t> </a:t>
            </a:r>
            <a:r>
              <a:rPr lang="da-DK" sz="1000" spc="-5" dirty="0">
                <a:solidFill>
                  <a:schemeClr val="accent2"/>
                </a:solidFill>
                <a:latin typeface="TDC NET"/>
                <a:cs typeface="TDC NET"/>
              </a:rPr>
              <a:t>løbet  </a:t>
            </a:r>
            <a:r>
              <a:rPr lang="da-DK" sz="1000" dirty="0">
                <a:solidFill>
                  <a:schemeClr val="accent2"/>
                </a:solidFill>
                <a:latin typeface="TDC NET"/>
                <a:cs typeface="TDC NET"/>
              </a:rPr>
              <a:t>af </a:t>
            </a:r>
            <a:r>
              <a:rPr lang="da-DK" sz="1000" spc="-5" dirty="0">
                <a:solidFill>
                  <a:schemeClr val="accent2"/>
                </a:solidFill>
                <a:latin typeface="TDC NET"/>
                <a:cs typeface="TDC NET"/>
              </a:rPr>
              <a:t>årtierne </a:t>
            </a:r>
            <a:r>
              <a:rPr lang="da-DK" sz="1000" spc="-15" dirty="0">
                <a:solidFill>
                  <a:schemeClr val="accent2"/>
                </a:solidFill>
                <a:latin typeface="TDC NET"/>
                <a:cs typeface="TDC NET"/>
              </a:rPr>
              <a:t>lagt</a:t>
            </a:r>
            <a:r>
              <a:rPr lang="da-DK" sz="1000" spc="-40" dirty="0">
                <a:solidFill>
                  <a:schemeClr val="accent2"/>
                </a:solidFill>
                <a:latin typeface="TDC NET"/>
                <a:cs typeface="TDC NET"/>
              </a:rPr>
              <a:t> </a:t>
            </a:r>
            <a:r>
              <a:rPr lang="da-DK" sz="1000" dirty="0">
                <a:solidFill>
                  <a:schemeClr val="accent2"/>
                </a:solidFill>
                <a:latin typeface="TDC NET"/>
                <a:cs typeface="TDC NET"/>
              </a:rPr>
              <a:t>sammen.</a:t>
            </a:r>
          </a:p>
          <a:p>
            <a:pPr marL="267970" marR="260350" indent="-635" algn="ctr">
              <a:lnSpc>
                <a:spcPct val="108300"/>
              </a:lnSpc>
            </a:pPr>
            <a:r>
              <a:rPr lang="da-DK" sz="1000" dirty="0">
                <a:solidFill>
                  <a:schemeClr val="accent2"/>
                </a:solidFill>
                <a:latin typeface="TDC NET"/>
                <a:cs typeface="TDC NET"/>
              </a:rPr>
              <a:t>I </a:t>
            </a:r>
            <a:r>
              <a:rPr lang="da-DK" sz="1000" spc="-10" dirty="0">
                <a:solidFill>
                  <a:schemeClr val="accent2"/>
                </a:solidFill>
                <a:latin typeface="TDC NET"/>
                <a:cs typeface="TDC NET"/>
              </a:rPr>
              <a:t>1987 </a:t>
            </a:r>
            <a:r>
              <a:rPr lang="da-DK" sz="1000" dirty="0">
                <a:solidFill>
                  <a:schemeClr val="accent2"/>
                </a:solidFill>
                <a:latin typeface="TDC NET"/>
                <a:cs typeface="TDC NET"/>
              </a:rPr>
              <a:t>har Danmark</a:t>
            </a:r>
            <a:r>
              <a:rPr lang="da-DK" sz="1000" spc="-125" dirty="0">
                <a:solidFill>
                  <a:schemeClr val="accent2"/>
                </a:solidFill>
                <a:latin typeface="TDC NET"/>
                <a:cs typeface="TDC NET"/>
              </a:rPr>
              <a:t> </a:t>
            </a:r>
            <a:r>
              <a:rPr lang="da-DK" sz="1000" spc="-10" dirty="0">
                <a:solidFill>
                  <a:schemeClr val="accent2"/>
                </a:solidFill>
                <a:latin typeface="TDC NET"/>
                <a:cs typeface="TDC NET"/>
              </a:rPr>
              <a:t>fire  </a:t>
            </a:r>
            <a:r>
              <a:rPr lang="da-DK" sz="1000" spc="-5" dirty="0">
                <a:solidFill>
                  <a:schemeClr val="accent2"/>
                </a:solidFill>
                <a:latin typeface="TDC NET"/>
                <a:cs typeface="TDC NET"/>
              </a:rPr>
              <a:t>regionale</a:t>
            </a:r>
            <a:r>
              <a:rPr lang="da-DK" sz="1000" spc="-60" dirty="0">
                <a:solidFill>
                  <a:schemeClr val="accent2"/>
                </a:solidFill>
                <a:latin typeface="TDC NET"/>
                <a:cs typeface="TDC NET"/>
              </a:rPr>
              <a:t> </a:t>
            </a:r>
            <a:r>
              <a:rPr lang="da-DK" sz="1000" spc="-10" dirty="0">
                <a:solidFill>
                  <a:schemeClr val="accent2"/>
                </a:solidFill>
                <a:latin typeface="TDC NET"/>
                <a:cs typeface="TDC NET"/>
              </a:rPr>
              <a:t>teleselskaber.</a:t>
            </a:r>
            <a:endParaRPr lang="da-DK" sz="1000" dirty="0">
              <a:solidFill>
                <a:schemeClr val="accent2"/>
              </a:solidFill>
              <a:latin typeface="TDC NET"/>
              <a:cs typeface="TDC NET"/>
            </a:endParaRPr>
          </a:p>
        </p:txBody>
      </p:sp>
    </p:spTree>
    <p:extLst>
      <p:ext uri="{BB962C8B-B14F-4D97-AF65-F5344CB8AC3E}">
        <p14:creationId xmlns:p14="http://schemas.microsoft.com/office/powerpoint/2010/main" val="3445478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B5FA86-4D62-E945-AB95-2652F1641F0F}"/>
              </a:ext>
            </a:extLst>
          </p:cNvPr>
          <p:cNvSpPr>
            <a:spLocks noGrp="1"/>
          </p:cNvSpPr>
          <p:nvPr>
            <p:ph type="title"/>
          </p:nvPr>
        </p:nvSpPr>
        <p:spPr>
          <a:xfrm>
            <a:off x="588000" y="396000"/>
            <a:ext cx="11016000" cy="638636"/>
          </a:xfrm>
        </p:spPr>
        <p:txBody>
          <a:bodyPr>
            <a:spAutoFit/>
          </a:bodyPr>
          <a:lstStyle/>
          <a:p>
            <a:r>
              <a:rPr lang="da-DK" dirty="0"/>
              <a:t>TDC Group blev splittet op i to uafhængige virksomheder i 2019</a:t>
            </a:r>
            <a:br>
              <a:rPr lang="en-US" dirty="0"/>
            </a:br>
            <a:endParaRPr lang="da-DK" dirty="0"/>
          </a:p>
        </p:txBody>
      </p:sp>
      <p:sp>
        <p:nvSpPr>
          <p:cNvPr id="4" name="Ellipse 3">
            <a:extLst>
              <a:ext uri="{FF2B5EF4-FFF2-40B4-BE49-F238E27FC236}">
                <a16:creationId xmlns:a16="http://schemas.microsoft.com/office/drawing/2014/main" id="{65C639DE-73AD-1B4C-9608-6A44AB51E063}"/>
              </a:ext>
            </a:extLst>
          </p:cNvPr>
          <p:cNvSpPr/>
          <p:nvPr/>
        </p:nvSpPr>
        <p:spPr>
          <a:xfrm>
            <a:off x="1145688" y="1897698"/>
            <a:ext cx="3144795" cy="3144795"/>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400" b="1" dirty="0">
              <a:solidFill>
                <a:schemeClr val="bg1"/>
              </a:solidFill>
            </a:endParaRPr>
          </a:p>
        </p:txBody>
      </p:sp>
      <p:sp>
        <p:nvSpPr>
          <p:cNvPr id="5" name="Ellipse 4">
            <a:extLst>
              <a:ext uri="{FF2B5EF4-FFF2-40B4-BE49-F238E27FC236}">
                <a16:creationId xmlns:a16="http://schemas.microsoft.com/office/drawing/2014/main" id="{F57027D3-456E-BE48-AA3D-18C998C0C8E4}"/>
              </a:ext>
            </a:extLst>
          </p:cNvPr>
          <p:cNvSpPr/>
          <p:nvPr/>
        </p:nvSpPr>
        <p:spPr>
          <a:xfrm>
            <a:off x="7728559" y="1897698"/>
            <a:ext cx="3144795" cy="3144795"/>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400" b="1" dirty="0">
              <a:solidFill>
                <a:schemeClr val="bg1"/>
              </a:solidFill>
            </a:endParaRPr>
          </a:p>
        </p:txBody>
      </p:sp>
      <p:pic>
        <p:nvPicPr>
          <p:cNvPr id="6" name="Billede 5" descr="Et billede, der indeholder skjorte, tegning&#10;&#10;Automatisk genereret beskrivelse">
            <a:extLst>
              <a:ext uri="{FF2B5EF4-FFF2-40B4-BE49-F238E27FC236}">
                <a16:creationId xmlns:a16="http://schemas.microsoft.com/office/drawing/2014/main" id="{0568A094-6B62-AB4D-B5BE-68128081D1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08220" y="2904268"/>
            <a:ext cx="2334672" cy="1252900"/>
          </a:xfrm>
          <a:prstGeom prst="rect">
            <a:avLst/>
          </a:prstGeom>
        </p:spPr>
      </p:pic>
      <p:pic>
        <p:nvPicPr>
          <p:cNvPr id="7" name="Billede 6" descr="Et billede, der indeholder objekt, ur&#10;&#10;Automatisk genereret beskrivelse">
            <a:extLst>
              <a:ext uri="{FF2B5EF4-FFF2-40B4-BE49-F238E27FC236}">
                <a16:creationId xmlns:a16="http://schemas.microsoft.com/office/drawing/2014/main" id="{61CB9E75-D7B9-3E48-AE5F-6BC667F4DD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5862" y="3183142"/>
            <a:ext cx="1874395" cy="534016"/>
          </a:xfrm>
          <a:prstGeom prst="rect">
            <a:avLst/>
          </a:prstGeom>
        </p:spPr>
      </p:pic>
      <p:sp>
        <p:nvSpPr>
          <p:cNvPr id="9" name="Ellipse 8">
            <a:extLst>
              <a:ext uri="{FF2B5EF4-FFF2-40B4-BE49-F238E27FC236}">
                <a16:creationId xmlns:a16="http://schemas.microsoft.com/office/drawing/2014/main" id="{C53A92BC-3462-7A49-A09F-9FF4DF681BF7}"/>
              </a:ext>
            </a:extLst>
          </p:cNvPr>
          <p:cNvSpPr/>
          <p:nvPr/>
        </p:nvSpPr>
        <p:spPr>
          <a:xfrm>
            <a:off x="4804425" y="2800333"/>
            <a:ext cx="1188835" cy="1188835"/>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400" b="1" dirty="0">
              <a:solidFill>
                <a:schemeClr val="accent2"/>
              </a:solidFill>
            </a:endParaRPr>
          </a:p>
        </p:txBody>
      </p:sp>
      <p:pic>
        <p:nvPicPr>
          <p:cNvPr id="10" name="Grafik 9">
            <a:extLst>
              <a:ext uri="{FF2B5EF4-FFF2-40B4-BE49-F238E27FC236}">
                <a16:creationId xmlns:a16="http://schemas.microsoft.com/office/drawing/2014/main" id="{1E52FBD1-1753-8348-859C-4F7022E08A73}"/>
              </a:ext>
            </a:extLst>
          </p:cNvPr>
          <p:cNvPicPr>
            <a:picLocks noChangeAspect="1"/>
          </p:cNvPicPr>
          <p:nvPr/>
        </p:nvPicPr>
        <p:blipFill rotWithShape="1">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l="37854" r="37470" b="77593"/>
          <a:stretch/>
        </p:blipFill>
        <p:spPr>
          <a:xfrm>
            <a:off x="5149958" y="2294226"/>
            <a:ext cx="1520364" cy="423914"/>
          </a:xfrm>
          <a:prstGeom prst="rect">
            <a:avLst/>
          </a:prstGeom>
        </p:spPr>
      </p:pic>
      <p:sp>
        <p:nvSpPr>
          <p:cNvPr id="13" name="Tekstfelt 12">
            <a:extLst>
              <a:ext uri="{FF2B5EF4-FFF2-40B4-BE49-F238E27FC236}">
                <a16:creationId xmlns:a16="http://schemas.microsoft.com/office/drawing/2014/main" id="{D33352F7-DB13-9F4A-904D-D97A9B352652}"/>
              </a:ext>
            </a:extLst>
          </p:cNvPr>
          <p:cNvSpPr txBox="1"/>
          <p:nvPr/>
        </p:nvSpPr>
        <p:spPr>
          <a:xfrm>
            <a:off x="4834778" y="3339350"/>
            <a:ext cx="1126732" cy="138499"/>
          </a:xfrm>
          <a:prstGeom prst="rect">
            <a:avLst/>
          </a:prstGeom>
          <a:noFill/>
        </p:spPr>
        <p:txBody>
          <a:bodyPr wrap="square" lIns="0" tIns="0" rIns="0" bIns="0" rtlCol="0">
            <a:spAutoFit/>
          </a:bodyPr>
          <a:lstStyle/>
          <a:p>
            <a:pPr algn="ctr">
              <a:lnSpc>
                <a:spcPct val="90000"/>
              </a:lnSpc>
              <a:buClr>
                <a:schemeClr val="accent1"/>
              </a:buClr>
              <a:buSzPct val="110000"/>
            </a:pPr>
            <a:r>
              <a:rPr lang="da-DK" sz="1000" b="1" dirty="0">
                <a:solidFill>
                  <a:schemeClr val="accent2"/>
                </a:solidFill>
              </a:rPr>
              <a:t>Infrastruktur</a:t>
            </a:r>
          </a:p>
        </p:txBody>
      </p:sp>
      <p:sp>
        <p:nvSpPr>
          <p:cNvPr id="14" name="Tekstfelt 13">
            <a:extLst>
              <a:ext uri="{FF2B5EF4-FFF2-40B4-BE49-F238E27FC236}">
                <a16:creationId xmlns:a16="http://schemas.microsoft.com/office/drawing/2014/main" id="{D16F32A6-5586-2745-9D83-A72DE41CC1CD}"/>
              </a:ext>
            </a:extLst>
          </p:cNvPr>
          <p:cNvSpPr txBox="1"/>
          <p:nvPr/>
        </p:nvSpPr>
        <p:spPr>
          <a:xfrm>
            <a:off x="5889642" y="3339350"/>
            <a:ext cx="1126732" cy="138499"/>
          </a:xfrm>
          <a:prstGeom prst="rect">
            <a:avLst/>
          </a:prstGeom>
          <a:noFill/>
        </p:spPr>
        <p:txBody>
          <a:bodyPr wrap="square" lIns="0" tIns="0" rIns="0" bIns="0" rtlCol="0">
            <a:spAutoFit/>
          </a:bodyPr>
          <a:lstStyle/>
          <a:p>
            <a:pPr algn="ctr">
              <a:lnSpc>
                <a:spcPct val="90000"/>
              </a:lnSpc>
              <a:buClr>
                <a:schemeClr val="accent1"/>
              </a:buClr>
              <a:buSzPct val="110000"/>
            </a:pPr>
            <a:r>
              <a:rPr lang="da-DK" sz="1000" b="1" dirty="0">
                <a:solidFill>
                  <a:schemeClr val="accent2"/>
                </a:solidFill>
              </a:rPr>
              <a:t>Services</a:t>
            </a:r>
          </a:p>
        </p:txBody>
      </p:sp>
      <p:sp>
        <p:nvSpPr>
          <p:cNvPr id="15" name="Ellipse 14">
            <a:extLst>
              <a:ext uri="{FF2B5EF4-FFF2-40B4-BE49-F238E27FC236}">
                <a16:creationId xmlns:a16="http://schemas.microsoft.com/office/drawing/2014/main" id="{9D14D7A7-0490-5E4D-94C4-D92B65ADE154}"/>
              </a:ext>
            </a:extLst>
          </p:cNvPr>
          <p:cNvSpPr/>
          <p:nvPr/>
        </p:nvSpPr>
        <p:spPr>
          <a:xfrm>
            <a:off x="5862662" y="2800333"/>
            <a:ext cx="1188835" cy="1188835"/>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400" b="1" dirty="0">
              <a:solidFill>
                <a:schemeClr val="accent2"/>
              </a:solidFill>
            </a:endParaRPr>
          </a:p>
        </p:txBody>
      </p:sp>
      <p:sp>
        <p:nvSpPr>
          <p:cNvPr id="16" name="Tekstfelt 15">
            <a:extLst>
              <a:ext uri="{FF2B5EF4-FFF2-40B4-BE49-F238E27FC236}">
                <a16:creationId xmlns:a16="http://schemas.microsoft.com/office/drawing/2014/main" id="{C66329C2-A608-BE4D-9076-AA8A9F6D5C45}"/>
              </a:ext>
            </a:extLst>
          </p:cNvPr>
          <p:cNvSpPr txBox="1"/>
          <p:nvPr/>
        </p:nvSpPr>
        <p:spPr>
          <a:xfrm>
            <a:off x="1317994" y="5306110"/>
            <a:ext cx="2710130" cy="4985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3755D7"/>
              </a:buClr>
              <a:buSzPct val="110000"/>
              <a:buFontTx/>
              <a:buNone/>
              <a:tabLst/>
              <a:defRPr/>
            </a:pPr>
            <a:r>
              <a:rPr kumimoji="0" lang="da-DK" sz="1200" i="0" u="none" strike="noStrike" kern="1200" cap="none" spc="0" normalizeH="0" baseline="0" dirty="0">
                <a:ln>
                  <a:noFill/>
                </a:ln>
                <a:solidFill>
                  <a:schemeClr val="accent2"/>
                </a:solidFill>
                <a:effectLst/>
                <a:uLnTx/>
                <a:uFillTx/>
                <a:latin typeface="TDC NET"/>
                <a:ea typeface="+mn-ea"/>
                <a:cs typeface="+mn-cs"/>
              </a:rPr>
              <a:t>Udrulning af pålidelige og lynhurtige netværk og sørger for, at vi er bedre forbundet end nogensinde</a:t>
            </a:r>
          </a:p>
        </p:txBody>
      </p:sp>
      <p:sp>
        <p:nvSpPr>
          <p:cNvPr id="17" name="Tekstfelt 16">
            <a:extLst>
              <a:ext uri="{FF2B5EF4-FFF2-40B4-BE49-F238E27FC236}">
                <a16:creationId xmlns:a16="http://schemas.microsoft.com/office/drawing/2014/main" id="{CB27E719-94EA-3047-BEDA-BEFE9F362248}"/>
              </a:ext>
            </a:extLst>
          </p:cNvPr>
          <p:cNvSpPr txBox="1"/>
          <p:nvPr/>
        </p:nvSpPr>
        <p:spPr>
          <a:xfrm>
            <a:off x="7728559" y="5306951"/>
            <a:ext cx="3308809" cy="997196"/>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
                <a:srgbClr val="3755D7"/>
              </a:buClr>
              <a:buSzPct val="110000"/>
              <a:buFontTx/>
              <a:buNone/>
              <a:tabLst/>
              <a:defRPr/>
            </a:pPr>
            <a:r>
              <a:rPr kumimoji="0" lang="en-US" sz="1200" i="0" u="none" strike="noStrike" kern="1200" cap="none" spc="0" normalizeH="0" baseline="0" noProof="0" dirty="0">
                <a:ln>
                  <a:noFill/>
                </a:ln>
                <a:solidFill>
                  <a:schemeClr val="accent2"/>
                </a:solidFill>
                <a:effectLst/>
                <a:uLnTx/>
                <a:uFillTx/>
                <a:latin typeface="TDC NET"/>
                <a:ea typeface="+mn-ea"/>
                <a:cs typeface="+mn-cs"/>
              </a:rPr>
              <a:t> </a:t>
            </a:r>
            <a:r>
              <a:rPr lang="da-DK" sz="1200" dirty="0">
                <a:solidFill>
                  <a:schemeClr val="accent2"/>
                </a:solidFill>
                <a:latin typeface="TDC NET"/>
              </a:rPr>
              <a:t>U</a:t>
            </a:r>
            <a:r>
              <a:rPr kumimoji="0" lang="da-DK" sz="1200" i="0" u="none" strike="noStrike" kern="1200" cap="none" spc="0" normalizeH="0" baseline="0" noProof="0" dirty="0" err="1">
                <a:ln>
                  <a:noFill/>
                </a:ln>
                <a:solidFill>
                  <a:schemeClr val="accent2"/>
                </a:solidFill>
                <a:effectLst/>
                <a:uLnTx/>
                <a:uFillTx/>
                <a:latin typeface="TDC NET"/>
                <a:ea typeface="+mn-ea"/>
                <a:cs typeface="+mn-cs"/>
              </a:rPr>
              <a:t>dvikler</a:t>
            </a:r>
            <a:r>
              <a:rPr kumimoji="0" lang="da-DK" sz="1200" i="0" u="none" strike="noStrike" kern="1200" cap="none" spc="0" normalizeH="0" baseline="0" noProof="0" dirty="0">
                <a:ln>
                  <a:noFill/>
                </a:ln>
                <a:solidFill>
                  <a:schemeClr val="accent2"/>
                </a:solidFill>
                <a:effectLst/>
                <a:uLnTx/>
                <a:uFillTx/>
                <a:latin typeface="TDC NET"/>
                <a:ea typeface="+mn-ea"/>
                <a:cs typeface="+mn-cs"/>
              </a:rPr>
              <a:t> og markedsføre</a:t>
            </a:r>
            <a:r>
              <a:rPr lang="da-DK" sz="1200" dirty="0">
                <a:solidFill>
                  <a:schemeClr val="accent2"/>
                </a:solidFill>
                <a:latin typeface="TDC NET"/>
              </a:rPr>
              <a:t>r de bedste kommunikations- og underholdningstjenester. Fokuserer på udvikling af nye innovative produkter og digitale løsninger</a:t>
            </a:r>
            <a:endParaRPr kumimoji="0" lang="da-DK" sz="1200" i="0" u="none" strike="noStrike" kern="1200" cap="none" spc="0" normalizeH="0" baseline="0" noProof="0" dirty="0">
              <a:ln>
                <a:noFill/>
              </a:ln>
              <a:solidFill>
                <a:schemeClr val="accent2"/>
              </a:solidFill>
              <a:effectLst/>
              <a:uLnTx/>
              <a:uFillTx/>
              <a:latin typeface="TDC NET"/>
              <a:ea typeface="+mn-ea"/>
              <a:cs typeface="+mn-cs"/>
            </a:endParaRPr>
          </a:p>
          <a:p>
            <a:pPr marL="0" marR="0" lvl="0" indent="0" algn="ctr" defTabSz="914400" rtl="0" eaLnBrk="1" fontAlgn="auto" latinLnBrk="0" hangingPunct="1">
              <a:lnSpc>
                <a:spcPct val="90000"/>
              </a:lnSpc>
              <a:spcBef>
                <a:spcPts val="0"/>
              </a:spcBef>
              <a:spcAft>
                <a:spcPts val="0"/>
              </a:spcAft>
              <a:buClr>
                <a:srgbClr val="3755D7"/>
              </a:buClr>
              <a:buSzPct val="110000"/>
              <a:buFontTx/>
              <a:buNone/>
              <a:tabLst/>
              <a:defRPr/>
            </a:pPr>
            <a:endParaRPr kumimoji="0" lang="da-DK" sz="1200" i="0" u="none" strike="noStrike" kern="1200" cap="none" spc="0" normalizeH="0" baseline="0" noProof="0" dirty="0">
              <a:ln>
                <a:noFill/>
              </a:ln>
              <a:solidFill>
                <a:schemeClr val="accent2"/>
              </a:solidFill>
              <a:effectLst/>
              <a:highlight>
                <a:srgbClr val="FFFF00"/>
              </a:highlight>
              <a:uLnTx/>
              <a:uFillTx/>
              <a:latin typeface="TDC NET"/>
              <a:ea typeface="+mn-ea"/>
              <a:cs typeface="+mn-cs"/>
            </a:endParaRPr>
          </a:p>
        </p:txBody>
      </p:sp>
    </p:spTree>
    <p:extLst>
      <p:ext uri="{BB962C8B-B14F-4D97-AF65-F5344CB8AC3E}">
        <p14:creationId xmlns:p14="http://schemas.microsoft.com/office/powerpoint/2010/main" val="10466753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45E7AF-6C60-42F5-8FFA-5BEEBBCD4E1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7" name="Object 6" hidden="1">
                        <a:extLst>
                          <a:ext uri="{FF2B5EF4-FFF2-40B4-BE49-F238E27FC236}">
                            <a16:creationId xmlns:a16="http://schemas.microsoft.com/office/drawing/2014/main" id="{3C45E7AF-6C60-42F5-8FFA-5BEEBBCD4E1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spAutoFit/>
          </a:bodyPr>
          <a:lstStyle/>
          <a:p>
            <a:r>
              <a:rPr lang="da-DK"/>
              <a:t>Agenda</a:t>
            </a:r>
            <a:endParaRPr lang="da-DK" dirty="0"/>
          </a:p>
        </p:txBody>
      </p:sp>
      <p:graphicFrame>
        <p:nvGraphicFramePr>
          <p:cNvPr id="4" name="Table 3"/>
          <p:cNvGraphicFramePr>
            <a:graphicFrameLocks noGrp="1"/>
          </p:cNvGraphicFramePr>
          <p:nvPr>
            <p:custDataLst>
              <p:custData r:id="rId4"/>
              <p:tags r:id="rId5"/>
            </p:custDataLst>
            <p:extLst>
              <p:ext uri="{D42A27DB-BD31-4B8C-83A1-F6EECF244321}">
                <p14:modId xmlns:p14="http://schemas.microsoft.com/office/powerpoint/2010/main" val="3759915008"/>
              </p:ext>
            </p:extLst>
          </p:nvPr>
        </p:nvGraphicFramePr>
        <p:xfrm>
          <a:off x="1070330" y="1594332"/>
          <a:ext cx="7461834" cy="2672050"/>
        </p:xfrm>
        <a:graphic>
          <a:graphicData uri="http://schemas.openxmlformats.org/drawingml/2006/table">
            <a:tbl>
              <a:tblPr firstRow="1" bandRow="1">
                <a:tableStyleId>{2D5ABB26-0587-4C30-8999-92F81FD0307C}</a:tableStyleId>
              </a:tblPr>
              <a:tblGrid>
                <a:gridCol w="7461834">
                  <a:extLst>
                    <a:ext uri="{9D8B030D-6E8A-4147-A177-3AD203B41FA5}">
                      <a16:colId xmlns:a16="http://schemas.microsoft.com/office/drawing/2014/main" val="1367209598"/>
                    </a:ext>
                  </a:extLst>
                </a:gridCol>
              </a:tblGrid>
              <a:tr h="534410">
                <a:tc>
                  <a:txBody>
                    <a:bodyPr/>
                    <a:lstStyle/>
                    <a:p>
                      <a:pPr marL="539750" lvl="0" indent="-539750" algn="l" rtl="0" eaLnBrk="1" fontAlgn="auto" hangingPunct="1">
                        <a:lnSpc>
                          <a:spcPct val="100000"/>
                        </a:lnSpc>
                        <a:spcBef>
                          <a:spcPts val="0"/>
                        </a:spcBef>
                        <a:spcAft>
                          <a:spcPts val="0"/>
                        </a:spcAft>
                        <a:buClrTx/>
                        <a:buFont typeface="+mj-lt"/>
                        <a:buAutoNum type="arabicPeriod"/>
                      </a:pPr>
                      <a:r>
                        <a:rPr lang="da-DK" sz="2400" b="1" baseline="0" noProof="0" dirty="0">
                          <a:solidFill>
                            <a:srgbClr val="002060"/>
                          </a:solidFill>
                          <a:latin typeface="TDC NET" panose="00000500000000000000" pitchFamily="2" charset="0"/>
                          <a:ea typeface="+mn-ea"/>
                          <a:cs typeface="+mn-cs"/>
                          <a:sym typeface="TDC NET" panose="00000500000000000000" pitchFamily="2" charset="0"/>
                        </a:rPr>
                        <a:t>TDC NET introduktion</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442068709"/>
                  </a:ext>
                </a:extLst>
              </a:tr>
              <a:tr h="534410">
                <a:tc>
                  <a:txBody>
                    <a:bodyPr/>
                    <a:lstStyle/>
                    <a:p>
                      <a:pPr marL="539750" lvl="0" indent="-539750" algn="l" rtl="0" eaLnBrk="1" fontAlgn="auto" hangingPunct="1">
                        <a:lnSpc>
                          <a:spcPct val="100000"/>
                        </a:lnSpc>
                        <a:spcBef>
                          <a:spcPts val="0"/>
                        </a:spcBef>
                        <a:spcAft>
                          <a:spcPts val="0"/>
                        </a:spcAft>
                        <a:buClrTx/>
                        <a:buFont typeface="+mj-lt"/>
                        <a:buAutoNum type="arabicPeriod" startAt="2"/>
                      </a:pPr>
                      <a:r>
                        <a:rPr lang="da-DK" sz="2400" b="1" baseline="0" noProof="0" dirty="0">
                          <a:solidFill>
                            <a:schemeClr val="accent1"/>
                          </a:solidFill>
                          <a:latin typeface="TDC NET" panose="00000500000000000000" pitchFamily="2" charset="0"/>
                          <a:ea typeface="+mn-ea"/>
                          <a:cs typeface="+mn-cs"/>
                          <a:sym typeface="TDC NET" panose="00000500000000000000" pitchFamily="2" charset="0"/>
                        </a:rPr>
                        <a:t>Hvorfor vælge tilslutning til TDC NET Fiber?</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1450701"/>
                  </a:ext>
                </a:extLst>
              </a:tr>
              <a:tr h="534410">
                <a:tc>
                  <a:txBody>
                    <a:bodyPr/>
                    <a:lstStyle/>
                    <a:p>
                      <a:pPr marL="517525" lvl="0" indent="-517525" algn="l" rtl="0" eaLnBrk="1" fontAlgn="auto" hangingPunct="1">
                        <a:lnSpc>
                          <a:spcPct val="100000"/>
                        </a:lnSpc>
                        <a:spcBef>
                          <a:spcPts val="0"/>
                        </a:spcBef>
                        <a:spcAft>
                          <a:spcPts val="0"/>
                        </a:spcAft>
                        <a:buClrTx/>
                        <a:buFont typeface="+mj-lt"/>
                        <a:buAutoNum type="arabicPeriod" startAt="3"/>
                      </a:pPr>
                      <a:r>
                        <a:rPr lang="da-DK" sz="2400" b="1" baseline="0" noProof="0" dirty="0">
                          <a:solidFill>
                            <a:schemeClr val="accent2">
                              <a:lumMod val="100000"/>
                            </a:schemeClr>
                          </a:solidFill>
                          <a:latin typeface="TDC NET" panose="00000500000000000000" pitchFamily="2" charset="0"/>
                          <a:ea typeface="+mn-ea"/>
                          <a:cs typeface="+mn-cs"/>
                          <a:sym typeface="TDC NET" panose="00000500000000000000" pitchFamily="2" charset="0"/>
                        </a:rPr>
                        <a:t>Hvordan med det praktiske?</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12231103"/>
                  </a:ext>
                </a:extLst>
              </a:tr>
              <a:tr h="534410">
                <a:tc>
                  <a:txBody>
                    <a:bodyPr/>
                    <a:lstStyle/>
                    <a:p>
                      <a:pPr marL="517525" marR="0" lvl="0" indent="-517525"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da-DK" sz="2400" b="1" i="0" u="none" strike="noStrike" kern="1200" cap="none" spc="0" normalizeH="0" baseline="0" noProof="0" dirty="0">
                          <a:ln>
                            <a:noFill/>
                          </a:ln>
                          <a:solidFill>
                            <a:schemeClr val="accent2"/>
                          </a:solidFill>
                          <a:effectLst/>
                          <a:uLnTx/>
                          <a:uFillTx/>
                          <a:latin typeface="TDC NET" panose="00000500000000000000" pitchFamily="2" charset="0"/>
                          <a:ea typeface="+mn-ea"/>
                          <a:cs typeface="+mn-cs"/>
                          <a:sym typeface="TDC NET" panose="00000500000000000000" pitchFamily="2" charset="0"/>
                        </a:rPr>
                        <a:t>Opsummering, spørgsmål</a:t>
                      </a:r>
                    </a:p>
                  </a:txBody>
                  <a:tcPr marL="68580" marR="68580" marT="34290" marB="34290" anchor="ctr">
                    <a:lnL w="0">
                      <a:solidFill>
                        <a:srgbClr val="FFFFFF"/>
                      </a:solidFill>
                    </a:lnL>
                    <a:lnR w="0">
                      <a:solidFill>
                        <a:srgbClr val="FFFFFF"/>
                      </a:solidFill>
                    </a:lnR>
                    <a:lnT w="0">
                      <a:solidFill>
                        <a:srgbClr val="FFFFFF"/>
                      </a:solidFill>
                    </a:lnT>
                    <a:lnB w="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96943"/>
                  </a:ext>
                </a:extLst>
              </a:tr>
              <a:tr h="53441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a-DK" sz="2400" b="1" i="0" u="none" strike="noStrike" kern="1200" cap="none" spc="0" normalizeH="0" baseline="0" noProof="0" dirty="0">
                        <a:ln>
                          <a:noFill/>
                        </a:ln>
                        <a:solidFill>
                          <a:schemeClr val="accent2">
                            <a:lumMod val="100000"/>
                          </a:schemeClr>
                        </a:solidFill>
                        <a:effectLst/>
                        <a:uLnTx/>
                        <a:uFillTx/>
                        <a:latin typeface="TDC NET" panose="00000500000000000000" pitchFamily="2" charset="0"/>
                        <a:ea typeface="+mn-ea"/>
                        <a:cs typeface="+mn-cs"/>
                        <a:sym typeface="TDC NET" panose="00000500000000000000" pitchFamily="2" charset="0"/>
                      </a:endParaRPr>
                    </a:p>
                  </a:txBody>
                  <a:tcPr marL="68580" marR="68580" marT="34290" marB="34290" anchor="ctr">
                    <a:lnL w="0">
                      <a:solidFill>
                        <a:srgbClr val="FFFFFF"/>
                      </a:solidFill>
                    </a:lnL>
                    <a:lnR w="0">
                      <a:solidFill>
                        <a:srgbClr val="FFFFFF"/>
                      </a:solidFill>
                    </a:lnR>
                    <a:lnT w="0" cap="flat" cmpd="sng" algn="ctr">
                      <a:solidFill>
                        <a:srgbClr val="FFFFFF"/>
                      </a:solidFill>
                      <a:prstDash val="solid"/>
                      <a:round/>
                      <a:headEnd type="none" w="med" len="med"/>
                      <a:tailEnd type="none" w="med" len="med"/>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126920813"/>
                  </a:ext>
                </a:extLst>
              </a:tr>
            </a:tbl>
          </a:graphicData>
        </a:graphic>
      </p:graphicFrame>
      <p:sp>
        <p:nvSpPr>
          <p:cNvPr id="8" name="Grafik 267">
            <a:extLst>
              <a:ext uri="{FF2B5EF4-FFF2-40B4-BE49-F238E27FC236}">
                <a16:creationId xmlns:a16="http://schemas.microsoft.com/office/drawing/2014/main" id="{7DA04FCF-2F5F-4CE9-921B-692692BE2829}"/>
              </a:ext>
            </a:extLst>
          </p:cNvPr>
          <p:cNvSpPr/>
          <p:nvPr>
            <p:custDataLst>
              <p:tags r:id="rId6"/>
            </p:custDataLst>
          </p:nvPr>
        </p:nvSpPr>
        <p:spPr>
          <a:xfrm>
            <a:off x="588000" y="2268759"/>
            <a:ext cx="412287" cy="312039"/>
          </a:xfrm>
          <a:custGeom>
            <a:avLst/>
            <a:gdLst>
              <a:gd name="connsiteX0" fmla="*/ 257157 w 412287"/>
              <a:gd name="connsiteY0" fmla="*/ 0 h 312039"/>
              <a:gd name="connsiteX1" fmla="*/ 228198 w 412287"/>
              <a:gd name="connsiteY1" fmla="*/ 28959 h 312039"/>
              <a:gd name="connsiteX2" fmla="*/ 335675 w 412287"/>
              <a:gd name="connsiteY2" fmla="*/ 136422 h 312039"/>
              <a:gd name="connsiteX3" fmla="*/ 0 w 412287"/>
              <a:gd name="connsiteY3" fmla="*/ 136422 h 312039"/>
              <a:gd name="connsiteX4" fmla="*/ 0 w 412287"/>
              <a:gd name="connsiteY4" fmla="*/ 177354 h 312039"/>
              <a:gd name="connsiteX5" fmla="*/ 334207 w 412287"/>
              <a:gd name="connsiteY5" fmla="*/ 177354 h 312039"/>
              <a:gd name="connsiteX6" fmla="*/ 228227 w 412287"/>
              <a:gd name="connsiteY6" fmla="*/ 283363 h 312039"/>
              <a:gd name="connsiteX7" fmla="*/ 257185 w 412287"/>
              <a:gd name="connsiteY7" fmla="*/ 312322 h 312039"/>
              <a:gd name="connsiteX8" fmla="*/ 413318 w 412287"/>
              <a:gd name="connsiteY8" fmla="*/ 156147 h 312039"/>
              <a:gd name="connsiteX9" fmla="*/ 257157 w 412287"/>
              <a:gd name="connsiteY9" fmla="*/ 0 h 31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287" h="312039">
                <a:moveTo>
                  <a:pt x="257157" y="0"/>
                </a:moveTo>
                <a:lnTo>
                  <a:pt x="228198" y="28959"/>
                </a:lnTo>
                <a:lnTo>
                  <a:pt x="335675" y="136422"/>
                </a:lnTo>
                <a:lnTo>
                  <a:pt x="0" y="136422"/>
                </a:lnTo>
                <a:lnTo>
                  <a:pt x="0" y="177354"/>
                </a:lnTo>
                <a:lnTo>
                  <a:pt x="334207" y="177354"/>
                </a:lnTo>
                <a:lnTo>
                  <a:pt x="228227" y="283363"/>
                </a:lnTo>
                <a:lnTo>
                  <a:pt x="257185" y="312322"/>
                </a:lnTo>
                <a:lnTo>
                  <a:pt x="413318" y="156147"/>
                </a:lnTo>
                <a:lnTo>
                  <a:pt x="257157" y="0"/>
                </a:lnTo>
                <a:close/>
              </a:path>
            </a:pathLst>
          </a:custGeom>
          <a:solidFill>
            <a:srgbClr val="3755D7"/>
          </a:solidFill>
          <a:ln w="1401" cap="flat">
            <a:noFill/>
            <a:prstDash val="solid"/>
            <a:miter/>
          </a:ln>
        </p:spPr>
        <p:txBody>
          <a:bodyPr rtlCol="0" anchor="ctr"/>
          <a:lstStyle/>
          <a:p>
            <a:endParaRPr lang="da-DK" dirty="0"/>
          </a:p>
        </p:txBody>
      </p:sp>
    </p:spTree>
    <p:custDataLst>
      <p:custData r:id="rId1"/>
      <p:tags r:id="rId2"/>
    </p:custDataLst>
    <p:extLst>
      <p:ext uri="{BB962C8B-B14F-4D97-AF65-F5344CB8AC3E}">
        <p14:creationId xmlns:p14="http://schemas.microsoft.com/office/powerpoint/2010/main" val="549809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3E3A25-2B06-4F5D-9B2B-15DDCADAB6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8" name="Object 7" hidden="1">
                        <a:extLst>
                          <a:ext uri="{FF2B5EF4-FFF2-40B4-BE49-F238E27FC236}">
                            <a16:creationId xmlns:a16="http://schemas.microsoft.com/office/drawing/2014/main" id="{EB3E3A25-2B06-4F5D-9B2B-15DDCADAB6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43923E9-8DC2-4823-A824-7B3EA535CC0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nSpc>
                <a:spcPct val="90000"/>
              </a:lnSpc>
            </a:pPr>
            <a:endParaRPr lang="da-DK" sz="2500" b="1" noProof="0" dirty="0" err="1">
              <a:latin typeface="TDC NET" panose="00000500000000000000" pitchFamily="2" charset="0"/>
              <a:ea typeface="+mj-ea"/>
              <a:cs typeface="+mj-cs"/>
              <a:sym typeface="TDC NET" panose="00000500000000000000" pitchFamily="2" charset="0"/>
            </a:endParaRPr>
          </a:p>
        </p:txBody>
      </p:sp>
      <p:sp>
        <p:nvSpPr>
          <p:cNvPr id="2" name="Title 1">
            <a:extLst>
              <a:ext uri="{FF2B5EF4-FFF2-40B4-BE49-F238E27FC236}">
                <a16:creationId xmlns:a16="http://schemas.microsoft.com/office/drawing/2014/main" id="{5C6C2DD3-A23A-46E2-8D2C-D7FC25F2EFD6}"/>
              </a:ext>
            </a:extLst>
          </p:cNvPr>
          <p:cNvSpPr>
            <a:spLocks noGrp="1"/>
          </p:cNvSpPr>
          <p:nvPr>
            <p:ph type="title"/>
          </p:nvPr>
        </p:nvSpPr>
        <p:spPr>
          <a:xfrm>
            <a:off x="588000" y="396000"/>
            <a:ext cx="11016000" cy="319318"/>
          </a:xfrm>
        </p:spPr>
        <p:txBody>
          <a:bodyPr>
            <a:spAutoFit/>
          </a:bodyPr>
          <a:lstStyle/>
          <a:p>
            <a:r>
              <a:rPr lang="da-DK" dirty="0"/>
              <a:t>Hvorfor vælge tilslutning til Fiber?</a:t>
            </a:r>
          </a:p>
        </p:txBody>
      </p:sp>
      <p:grpSp>
        <p:nvGrpSpPr>
          <p:cNvPr id="25" name="Group 24">
            <a:extLst>
              <a:ext uri="{FF2B5EF4-FFF2-40B4-BE49-F238E27FC236}">
                <a16:creationId xmlns:a16="http://schemas.microsoft.com/office/drawing/2014/main" id="{F9D1046B-BA63-47FE-8BA6-EC6C01480FF1}"/>
              </a:ext>
            </a:extLst>
          </p:cNvPr>
          <p:cNvGrpSpPr/>
          <p:nvPr/>
        </p:nvGrpSpPr>
        <p:grpSpPr>
          <a:xfrm>
            <a:off x="3530479" y="1468460"/>
            <a:ext cx="2188564" cy="2921575"/>
            <a:chOff x="3625147" y="1747683"/>
            <a:chExt cx="2188564" cy="2921575"/>
          </a:xfrm>
        </p:grpSpPr>
        <p:sp>
          <p:nvSpPr>
            <p:cNvPr id="21" name="Rektangel 22">
              <a:extLst>
                <a:ext uri="{FF2B5EF4-FFF2-40B4-BE49-F238E27FC236}">
                  <a16:creationId xmlns:a16="http://schemas.microsoft.com/office/drawing/2014/main" id="{E85CEBD7-52DE-4CCF-88D7-FA7FBCBFFB46}"/>
                </a:ext>
              </a:extLst>
            </p:cNvPr>
            <p:cNvSpPr/>
            <p:nvPr/>
          </p:nvSpPr>
          <p:spPr>
            <a:xfrm>
              <a:off x="3801429" y="1747683"/>
              <a:ext cx="1836000" cy="584775"/>
            </a:xfrm>
            <a:prstGeom prst="rect">
              <a:avLst/>
            </a:prstGeom>
          </p:spPr>
          <p:txBody>
            <a:bodyPr wrap="square">
              <a:spAutoFit/>
            </a:bodyPr>
            <a:lstStyle/>
            <a:p>
              <a:pPr marL="0" lvl="1" indent="0" algn="ctr">
                <a:spcBef>
                  <a:spcPts val="600"/>
                </a:spcBef>
                <a:buNone/>
              </a:pPr>
              <a:r>
                <a:rPr lang="da-DK" sz="1600" dirty="0">
                  <a:solidFill>
                    <a:schemeClr val="accent2"/>
                  </a:solidFill>
                  <a:sym typeface="TDC NET" panose="00000500000000000000" pitchFamily="2" charset="0"/>
                </a:rPr>
                <a:t>Høje hastigheder…</a:t>
              </a:r>
            </a:p>
          </p:txBody>
        </p:sp>
        <p:pic>
          <p:nvPicPr>
            <p:cNvPr id="6" name="Picture 5" descr="A picture containing outdoor, man, standing, ball&#10;&#10;Description automatically generated">
              <a:extLst>
                <a:ext uri="{FF2B5EF4-FFF2-40B4-BE49-F238E27FC236}">
                  <a16:creationId xmlns:a16="http://schemas.microsoft.com/office/drawing/2014/main" id="{4067F43F-91BC-45C9-9C05-DE0D524BC19E}"/>
                </a:ext>
              </a:extLst>
            </p:cNvPr>
            <p:cNvPicPr>
              <a:picLocks noChangeAspect="1"/>
            </p:cNvPicPr>
            <p:nvPr/>
          </p:nvPicPr>
          <p:blipFill rotWithShape="1">
            <a:blip r:embed="rId6">
              <a:extLst>
                <a:ext uri="{28A0092B-C50C-407E-A947-70E740481C1C}">
                  <a14:useLocalDpi xmlns:a14="http://schemas.microsoft.com/office/drawing/2010/main" val="0"/>
                </a:ext>
              </a:extLst>
            </a:blip>
            <a:srcRect l="14033" r="30039"/>
            <a:stretch/>
          </p:blipFill>
          <p:spPr>
            <a:xfrm>
              <a:off x="3625147" y="2468107"/>
              <a:ext cx="2188564" cy="2201151"/>
            </a:xfrm>
            <a:prstGeom prst="ellipse">
              <a:avLst/>
            </a:prstGeom>
          </p:spPr>
        </p:pic>
      </p:grpSp>
      <p:grpSp>
        <p:nvGrpSpPr>
          <p:cNvPr id="26" name="Group 25">
            <a:extLst>
              <a:ext uri="{FF2B5EF4-FFF2-40B4-BE49-F238E27FC236}">
                <a16:creationId xmlns:a16="http://schemas.microsoft.com/office/drawing/2014/main" id="{85EC5394-3564-4378-A3BD-967416AE8DB6}"/>
              </a:ext>
            </a:extLst>
          </p:cNvPr>
          <p:cNvGrpSpPr/>
          <p:nvPr/>
        </p:nvGrpSpPr>
        <p:grpSpPr>
          <a:xfrm>
            <a:off x="6472958" y="1468460"/>
            <a:ext cx="2188564" cy="2921575"/>
            <a:chOff x="6406751" y="1747683"/>
            <a:chExt cx="2188564" cy="2921575"/>
          </a:xfrm>
        </p:grpSpPr>
        <p:sp>
          <p:nvSpPr>
            <p:cNvPr id="18" name="Rektangel 22">
              <a:extLst>
                <a:ext uri="{FF2B5EF4-FFF2-40B4-BE49-F238E27FC236}">
                  <a16:creationId xmlns:a16="http://schemas.microsoft.com/office/drawing/2014/main" id="{36B3437B-96FB-4010-B425-F79E870B08A0}"/>
                </a:ext>
              </a:extLst>
            </p:cNvPr>
            <p:cNvSpPr/>
            <p:nvPr/>
          </p:nvSpPr>
          <p:spPr>
            <a:xfrm>
              <a:off x="6583033" y="1747683"/>
              <a:ext cx="1836000" cy="584775"/>
            </a:xfrm>
            <a:prstGeom prst="rect">
              <a:avLst/>
            </a:prstGeom>
          </p:spPr>
          <p:txBody>
            <a:bodyPr wrap="square" anchor="t">
              <a:spAutoFit/>
            </a:bodyPr>
            <a:lstStyle/>
            <a:p>
              <a:pPr marL="0" lvl="1" indent="0" algn="ctr">
                <a:spcBef>
                  <a:spcPts val="600"/>
                </a:spcBef>
                <a:buNone/>
              </a:pPr>
              <a:r>
                <a:rPr lang="da-DK" sz="1600" dirty="0">
                  <a:solidFill>
                    <a:schemeClr val="accent2"/>
                  </a:solidFill>
                  <a:sym typeface="TDC NET" panose="00000500000000000000" pitchFamily="2" charset="0"/>
                </a:rPr>
                <a:t>Højkvalitets forbindelse…</a:t>
              </a:r>
            </a:p>
          </p:txBody>
        </p:sp>
        <p:pic>
          <p:nvPicPr>
            <p:cNvPr id="10" name="Picture 9" descr="A person using a computer&#10;&#10;Description automatically generated">
              <a:extLst>
                <a:ext uri="{FF2B5EF4-FFF2-40B4-BE49-F238E27FC236}">
                  <a16:creationId xmlns:a16="http://schemas.microsoft.com/office/drawing/2014/main" id="{923FE08E-DD9C-4237-B6C4-1AE2AFC2649A}"/>
                </a:ext>
              </a:extLst>
            </p:cNvPr>
            <p:cNvPicPr>
              <a:picLocks noChangeAspect="1"/>
            </p:cNvPicPr>
            <p:nvPr/>
          </p:nvPicPr>
          <p:blipFill rotWithShape="1">
            <a:blip r:embed="rId7">
              <a:extLst>
                <a:ext uri="{28A0092B-C50C-407E-A947-70E740481C1C}">
                  <a14:useLocalDpi xmlns:a14="http://schemas.microsoft.com/office/drawing/2010/main" val="0"/>
                </a:ext>
              </a:extLst>
            </a:blip>
            <a:srcRect l="14680" t="707" r="19034" b="-707"/>
            <a:stretch/>
          </p:blipFill>
          <p:spPr>
            <a:xfrm>
              <a:off x="6406751" y="2468107"/>
              <a:ext cx="2188564" cy="2201151"/>
            </a:xfrm>
            <a:prstGeom prst="ellipse">
              <a:avLst/>
            </a:prstGeom>
          </p:spPr>
        </p:pic>
      </p:grpSp>
      <p:grpSp>
        <p:nvGrpSpPr>
          <p:cNvPr id="27" name="Group 26">
            <a:extLst>
              <a:ext uri="{FF2B5EF4-FFF2-40B4-BE49-F238E27FC236}">
                <a16:creationId xmlns:a16="http://schemas.microsoft.com/office/drawing/2014/main" id="{4378EE89-6F94-4A48-9272-BDB4380F8B0D}"/>
              </a:ext>
            </a:extLst>
          </p:cNvPr>
          <p:cNvGrpSpPr/>
          <p:nvPr/>
        </p:nvGrpSpPr>
        <p:grpSpPr>
          <a:xfrm>
            <a:off x="9415436" y="1468460"/>
            <a:ext cx="2188564" cy="2921575"/>
            <a:chOff x="8998045" y="1747683"/>
            <a:chExt cx="2188564" cy="2921575"/>
          </a:xfrm>
        </p:grpSpPr>
        <p:sp>
          <p:nvSpPr>
            <p:cNvPr id="24" name="Rektangel 22">
              <a:extLst>
                <a:ext uri="{FF2B5EF4-FFF2-40B4-BE49-F238E27FC236}">
                  <a16:creationId xmlns:a16="http://schemas.microsoft.com/office/drawing/2014/main" id="{46E59E5A-C5EE-4F9E-9C88-2E5E947F5C08}"/>
                </a:ext>
              </a:extLst>
            </p:cNvPr>
            <p:cNvSpPr/>
            <p:nvPr/>
          </p:nvSpPr>
          <p:spPr>
            <a:xfrm>
              <a:off x="9174327" y="1747683"/>
              <a:ext cx="1836000" cy="584775"/>
            </a:xfrm>
            <a:prstGeom prst="rect">
              <a:avLst/>
            </a:prstGeom>
          </p:spPr>
          <p:txBody>
            <a:bodyPr wrap="square">
              <a:spAutoFit/>
            </a:bodyPr>
            <a:lstStyle/>
            <a:p>
              <a:pPr marL="0" lvl="1" indent="0" algn="ctr">
                <a:spcBef>
                  <a:spcPts val="600"/>
                </a:spcBef>
                <a:buNone/>
              </a:pPr>
              <a:r>
                <a:rPr lang="da-DK" sz="1600" dirty="0">
                  <a:solidFill>
                    <a:schemeClr val="accent2"/>
                  </a:solidFill>
                  <a:sym typeface="TDC NET" panose="00000500000000000000" pitchFamily="2" charset="0"/>
                </a:rPr>
                <a:t>Stabil forbindelse</a:t>
              </a:r>
            </a:p>
          </p:txBody>
        </p:sp>
        <p:pic>
          <p:nvPicPr>
            <p:cNvPr id="13" name="Picture 12" descr="A picture containing outdoor, digger, transport, road&#10;&#10;Description automatically generated">
              <a:extLst>
                <a:ext uri="{FF2B5EF4-FFF2-40B4-BE49-F238E27FC236}">
                  <a16:creationId xmlns:a16="http://schemas.microsoft.com/office/drawing/2014/main" id="{B249A196-37A2-4AF0-92B1-2FA8C137B144}"/>
                </a:ext>
              </a:extLst>
            </p:cNvPr>
            <p:cNvPicPr>
              <a:picLocks noChangeAspect="1"/>
            </p:cNvPicPr>
            <p:nvPr/>
          </p:nvPicPr>
          <p:blipFill rotWithShape="1">
            <a:blip r:embed="rId8">
              <a:extLst>
                <a:ext uri="{28A0092B-C50C-407E-A947-70E740481C1C}">
                  <a14:useLocalDpi xmlns:a14="http://schemas.microsoft.com/office/drawing/2010/main" val="0"/>
                </a:ext>
              </a:extLst>
            </a:blip>
            <a:srcRect l="20739" t="-5899" r="23466" b="5899"/>
            <a:stretch/>
          </p:blipFill>
          <p:spPr>
            <a:xfrm>
              <a:off x="8998045" y="2468107"/>
              <a:ext cx="2188564" cy="2201151"/>
            </a:xfrm>
            <a:prstGeom prst="ellipse">
              <a:avLst/>
            </a:prstGeom>
          </p:spPr>
        </p:pic>
      </p:grpSp>
      <p:sp>
        <p:nvSpPr>
          <p:cNvPr id="15" name="Rektangel 22">
            <a:extLst>
              <a:ext uri="{FF2B5EF4-FFF2-40B4-BE49-F238E27FC236}">
                <a16:creationId xmlns:a16="http://schemas.microsoft.com/office/drawing/2014/main" id="{A33D646A-02A3-46F6-A733-865817E7F3EB}"/>
              </a:ext>
            </a:extLst>
          </p:cNvPr>
          <p:cNvSpPr/>
          <p:nvPr/>
        </p:nvSpPr>
        <p:spPr>
          <a:xfrm>
            <a:off x="764282" y="1468460"/>
            <a:ext cx="1836000" cy="338554"/>
          </a:xfrm>
          <a:prstGeom prst="rect">
            <a:avLst/>
          </a:prstGeom>
        </p:spPr>
        <p:txBody>
          <a:bodyPr wrap="square">
            <a:spAutoFit/>
          </a:bodyPr>
          <a:lstStyle/>
          <a:p>
            <a:pPr marL="0" lvl="1" indent="0" algn="ctr">
              <a:spcBef>
                <a:spcPts val="600"/>
              </a:spcBef>
              <a:buNone/>
            </a:pPr>
            <a:r>
              <a:rPr lang="da-DK" sz="1600" dirty="0">
                <a:solidFill>
                  <a:schemeClr val="accent2"/>
                </a:solidFill>
                <a:sym typeface="TDC NET" panose="00000500000000000000" pitchFamily="2" charset="0"/>
              </a:rPr>
              <a:t>Optisk kabel…</a:t>
            </a:r>
          </a:p>
        </p:txBody>
      </p:sp>
      <p:sp>
        <p:nvSpPr>
          <p:cNvPr id="30" name="Rektangel 9">
            <a:extLst>
              <a:ext uri="{FF2B5EF4-FFF2-40B4-BE49-F238E27FC236}">
                <a16:creationId xmlns:a16="http://schemas.microsoft.com/office/drawing/2014/main" id="{C73A212B-F6FB-4810-BCA0-E06FBDAE1A45}"/>
              </a:ext>
            </a:extLst>
          </p:cNvPr>
          <p:cNvSpPr/>
          <p:nvPr/>
        </p:nvSpPr>
        <p:spPr>
          <a:xfrm>
            <a:off x="588000" y="4650876"/>
            <a:ext cx="2188564" cy="738664"/>
          </a:xfrm>
          <a:prstGeom prst="rect">
            <a:avLst/>
          </a:prstGeom>
        </p:spPr>
        <p:txBody>
          <a:bodyPr wrap="square" anchor="t">
            <a:spAutoFit/>
          </a:bodyPr>
          <a:lstStyle/>
          <a:p>
            <a:pPr marL="0" lvl="1" indent="0" algn="ctr">
              <a:buNone/>
            </a:pPr>
            <a:r>
              <a:rPr lang="da-DK" sz="1400" dirty="0">
                <a:solidFill>
                  <a:schemeClr val="accent1"/>
                </a:solidFill>
                <a:latin typeface="TDC NET"/>
                <a:cs typeface="TDC Light"/>
                <a:sym typeface="TDC NET" panose="00000500000000000000" pitchFamily="2" charset="0"/>
              </a:rPr>
              <a:t>…lysbølger der ikke påvirkes af elektrisk støj – stabil hastighed</a:t>
            </a:r>
            <a:endParaRPr lang="da-DK" sz="1400" dirty="0">
              <a:solidFill>
                <a:schemeClr val="accent1"/>
              </a:solidFill>
              <a:latin typeface="TDC NET"/>
              <a:cs typeface="TDC Light"/>
            </a:endParaRPr>
          </a:p>
        </p:txBody>
      </p:sp>
      <p:sp>
        <p:nvSpPr>
          <p:cNvPr id="34" name="Rektangel 9">
            <a:extLst>
              <a:ext uri="{FF2B5EF4-FFF2-40B4-BE49-F238E27FC236}">
                <a16:creationId xmlns:a16="http://schemas.microsoft.com/office/drawing/2014/main" id="{A005C43A-BC9C-4D13-8611-2566FCB12B7C}"/>
              </a:ext>
            </a:extLst>
          </p:cNvPr>
          <p:cNvSpPr/>
          <p:nvPr/>
        </p:nvSpPr>
        <p:spPr>
          <a:xfrm>
            <a:off x="3530479" y="4650876"/>
            <a:ext cx="2188564" cy="954107"/>
          </a:xfrm>
          <a:prstGeom prst="rect">
            <a:avLst/>
          </a:prstGeom>
        </p:spPr>
        <p:txBody>
          <a:bodyPr wrap="square" anchor="t">
            <a:spAutoFit/>
          </a:bodyPr>
          <a:lstStyle/>
          <a:p>
            <a:pPr marL="0" lvl="1" indent="0" algn="ctr">
              <a:buNone/>
            </a:pPr>
            <a:r>
              <a:rPr lang="da-DK" sz="1400" dirty="0">
                <a:solidFill>
                  <a:schemeClr val="accent1"/>
                </a:solidFill>
                <a:latin typeface="TDC NET"/>
                <a:cs typeface="TDC Light"/>
                <a:sym typeface="TDC NET" panose="00000500000000000000" pitchFamily="2" charset="0"/>
              </a:rPr>
              <a:t>…op til 2.500 </a:t>
            </a:r>
            <a:r>
              <a:rPr lang="da-DK" sz="1400" dirty="0" err="1">
                <a:solidFill>
                  <a:schemeClr val="accent1"/>
                </a:solidFill>
                <a:latin typeface="TDC NET"/>
                <a:cs typeface="TDC Light"/>
                <a:sym typeface="TDC NET" panose="00000500000000000000" pitchFamily="2" charset="0"/>
              </a:rPr>
              <a:t>Mbps</a:t>
            </a:r>
            <a:r>
              <a:rPr lang="da-DK" sz="1400" dirty="0">
                <a:solidFill>
                  <a:schemeClr val="accent1"/>
                </a:solidFill>
                <a:latin typeface="TDC NET"/>
                <a:cs typeface="TDC Light"/>
                <a:sym typeface="TDC NET" panose="00000500000000000000" pitchFamily="2" charset="0"/>
              </a:rPr>
              <a:t> up- og download &amp; endnu højere i fremtiden</a:t>
            </a:r>
            <a:endParaRPr lang="da-DK" sz="1400" dirty="0">
              <a:solidFill>
                <a:schemeClr val="accent1"/>
              </a:solidFill>
              <a:latin typeface="TDC NET"/>
              <a:cs typeface="TDC Light"/>
            </a:endParaRPr>
          </a:p>
          <a:p>
            <a:pPr marL="0" lvl="1" indent="0" algn="ctr">
              <a:buNone/>
            </a:pPr>
            <a:endParaRPr lang="da-DK" sz="1400" dirty="0">
              <a:solidFill>
                <a:schemeClr val="accent1"/>
              </a:solidFill>
              <a:latin typeface="TDC NET"/>
            </a:endParaRPr>
          </a:p>
        </p:txBody>
      </p:sp>
      <p:sp>
        <p:nvSpPr>
          <p:cNvPr id="35" name="Rektangel 9">
            <a:extLst>
              <a:ext uri="{FF2B5EF4-FFF2-40B4-BE49-F238E27FC236}">
                <a16:creationId xmlns:a16="http://schemas.microsoft.com/office/drawing/2014/main" id="{CB707E05-D7C9-4F40-83DB-6CD13AF936B0}"/>
              </a:ext>
            </a:extLst>
          </p:cNvPr>
          <p:cNvSpPr/>
          <p:nvPr/>
        </p:nvSpPr>
        <p:spPr>
          <a:xfrm>
            <a:off x="6472958" y="4650876"/>
            <a:ext cx="2188564" cy="954107"/>
          </a:xfrm>
          <a:prstGeom prst="rect">
            <a:avLst/>
          </a:prstGeom>
        </p:spPr>
        <p:txBody>
          <a:bodyPr wrap="square" anchor="t">
            <a:spAutoFit/>
          </a:bodyPr>
          <a:lstStyle/>
          <a:p>
            <a:pPr marL="0" lvl="1" indent="0" algn="ctr">
              <a:buNone/>
            </a:pPr>
            <a:r>
              <a:rPr lang="da-DK" sz="1400" dirty="0">
                <a:solidFill>
                  <a:schemeClr val="accent1"/>
                </a:solidFill>
                <a:latin typeface="TDC NET"/>
                <a:sym typeface="TDC NET" panose="00000500000000000000" pitchFamily="2" charset="0"/>
              </a:rPr>
              <a:t>…for gameren, for familien med gang i mange enheder, til hjemmearbejdspladsen</a:t>
            </a:r>
            <a:endParaRPr lang="da-DK" sz="1400" dirty="0">
              <a:solidFill>
                <a:schemeClr val="accent1"/>
              </a:solidFill>
              <a:latin typeface="TDC NET"/>
            </a:endParaRPr>
          </a:p>
        </p:txBody>
      </p:sp>
      <p:sp>
        <p:nvSpPr>
          <p:cNvPr id="36" name="Rektangel 9">
            <a:extLst>
              <a:ext uri="{FF2B5EF4-FFF2-40B4-BE49-F238E27FC236}">
                <a16:creationId xmlns:a16="http://schemas.microsoft.com/office/drawing/2014/main" id="{B1A0A1E0-7F19-44D0-8202-CB3E043B8261}"/>
              </a:ext>
            </a:extLst>
          </p:cNvPr>
          <p:cNvSpPr/>
          <p:nvPr/>
        </p:nvSpPr>
        <p:spPr>
          <a:xfrm>
            <a:off x="9415436" y="4650876"/>
            <a:ext cx="2188564" cy="523220"/>
          </a:xfrm>
          <a:prstGeom prst="rect">
            <a:avLst/>
          </a:prstGeom>
        </p:spPr>
        <p:txBody>
          <a:bodyPr wrap="square" anchor="t">
            <a:spAutoFit/>
          </a:bodyPr>
          <a:lstStyle/>
          <a:p>
            <a:pPr marL="0" lvl="1" indent="0" algn="ctr">
              <a:buNone/>
            </a:pPr>
            <a:r>
              <a:rPr lang="da-DK" sz="1400" dirty="0">
                <a:solidFill>
                  <a:schemeClr val="accent1"/>
                </a:solidFill>
                <a:latin typeface="TDC NET"/>
                <a:cs typeface="TDC Light"/>
                <a:sym typeface="TDC NET" panose="00000500000000000000" pitchFamily="2" charset="0"/>
              </a:rPr>
              <a:t>… slutkunden mister ikke forbindelsen</a:t>
            </a:r>
            <a:endParaRPr lang="da-DK" sz="1400" dirty="0">
              <a:solidFill>
                <a:schemeClr val="accent1"/>
              </a:solidFill>
              <a:latin typeface="TDC NET"/>
              <a:cs typeface="TDC Light"/>
            </a:endParaRPr>
          </a:p>
        </p:txBody>
      </p:sp>
      <p:pic>
        <p:nvPicPr>
          <p:cNvPr id="23" name="Picture 22" descr="A truck is parked in a grassy field&#10;&#10;Description automatically generated">
            <a:extLst>
              <a:ext uri="{FF2B5EF4-FFF2-40B4-BE49-F238E27FC236}">
                <a16:creationId xmlns:a16="http://schemas.microsoft.com/office/drawing/2014/main" id="{D0E06B43-6BE7-488A-86EB-65DF7568249E}"/>
              </a:ext>
            </a:extLst>
          </p:cNvPr>
          <p:cNvPicPr>
            <a:picLocks noChangeAspect="1"/>
          </p:cNvPicPr>
          <p:nvPr/>
        </p:nvPicPr>
        <p:blipFill rotWithShape="1">
          <a:blip r:embed="rId9">
            <a:extLst>
              <a:ext uri="{28A0092B-C50C-407E-A947-70E740481C1C}">
                <a14:useLocalDpi xmlns:a14="http://schemas.microsoft.com/office/drawing/2010/main" val="0"/>
              </a:ext>
            </a:extLst>
          </a:blip>
          <a:srcRect l="50000" t="40534" r="13788" b="4838"/>
          <a:stretch/>
        </p:blipFill>
        <p:spPr>
          <a:xfrm>
            <a:off x="588000" y="2188884"/>
            <a:ext cx="2188564" cy="2201150"/>
          </a:xfrm>
          <a:prstGeom prst="ellipse">
            <a:avLst/>
          </a:prstGeom>
        </p:spPr>
      </p:pic>
    </p:spTree>
    <p:extLst>
      <p:ext uri="{BB962C8B-B14F-4D97-AF65-F5344CB8AC3E}">
        <p14:creationId xmlns:p14="http://schemas.microsoft.com/office/powerpoint/2010/main" val="21959678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3E3A25-2B06-4F5D-9B2B-15DDCADAB6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8" name="Object 7" hidden="1">
                        <a:extLst>
                          <a:ext uri="{FF2B5EF4-FFF2-40B4-BE49-F238E27FC236}">
                            <a16:creationId xmlns:a16="http://schemas.microsoft.com/office/drawing/2014/main" id="{EB3E3A25-2B06-4F5D-9B2B-15DDCADAB6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43923E9-8DC2-4823-A824-7B3EA535CC0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nSpc>
                <a:spcPct val="90000"/>
              </a:lnSpc>
            </a:pPr>
            <a:endParaRPr lang="da-DK" sz="2500" b="1" noProof="0" dirty="0" err="1">
              <a:latin typeface="TDC NET" panose="00000500000000000000" pitchFamily="2" charset="0"/>
              <a:ea typeface="+mj-ea"/>
              <a:cs typeface="+mj-cs"/>
              <a:sym typeface="TDC NET" panose="00000500000000000000" pitchFamily="2" charset="0"/>
            </a:endParaRPr>
          </a:p>
        </p:txBody>
      </p:sp>
      <p:sp>
        <p:nvSpPr>
          <p:cNvPr id="2" name="Title 1">
            <a:extLst>
              <a:ext uri="{FF2B5EF4-FFF2-40B4-BE49-F238E27FC236}">
                <a16:creationId xmlns:a16="http://schemas.microsoft.com/office/drawing/2014/main" id="{5C6C2DD3-A23A-46E2-8D2C-D7FC25F2EFD6}"/>
              </a:ext>
            </a:extLst>
          </p:cNvPr>
          <p:cNvSpPr>
            <a:spLocks noGrp="1"/>
          </p:cNvSpPr>
          <p:nvPr>
            <p:ph type="title"/>
          </p:nvPr>
        </p:nvSpPr>
        <p:spPr>
          <a:xfrm>
            <a:off x="588000" y="396000"/>
            <a:ext cx="11016000" cy="319318"/>
          </a:xfrm>
        </p:spPr>
        <p:txBody>
          <a:bodyPr>
            <a:spAutoFit/>
          </a:bodyPr>
          <a:lstStyle/>
          <a:p>
            <a:r>
              <a:rPr lang="da-DK" dirty="0"/>
              <a:t>Og hvorfor så vælge TDC NET?</a:t>
            </a:r>
          </a:p>
        </p:txBody>
      </p:sp>
      <p:grpSp>
        <p:nvGrpSpPr>
          <p:cNvPr id="25" name="Group 24">
            <a:extLst>
              <a:ext uri="{FF2B5EF4-FFF2-40B4-BE49-F238E27FC236}">
                <a16:creationId xmlns:a16="http://schemas.microsoft.com/office/drawing/2014/main" id="{F9D1046B-BA63-47FE-8BA6-EC6C01480FF1}"/>
              </a:ext>
            </a:extLst>
          </p:cNvPr>
          <p:cNvGrpSpPr/>
          <p:nvPr/>
        </p:nvGrpSpPr>
        <p:grpSpPr>
          <a:xfrm>
            <a:off x="6867944" y="1386793"/>
            <a:ext cx="2188564" cy="2921575"/>
            <a:chOff x="3625147" y="1747683"/>
            <a:chExt cx="2188564" cy="2921575"/>
          </a:xfrm>
        </p:grpSpPr>
        <p:sp>
          <p:nvSpPr>
            <p:cNvPr id="21" name="Rektangel 22">
              <a:extLst>
                <a:ext uri="{FF2B5EF4-FFF2-40B4-BE49-F238E27FC236}">
                  <a16:creationId xmlns:a16="http://schemas.microsoft.com/office/drawing/2014/main" id="{E85CEBD7-52DE-4CCF-88D7-FA7FBCBFFB46}"/>
                </a:ext>
              </a:extLst>
            </p:cNvPr>
            <p:cNvSpPr/>
            <p:nvPr/>
          </p:nvSpPr>
          <p:spPr>
            <a:xfrm>
              <a:off x="3801429" y="1747683"/>
              <a:ext cx="1836000" cy="584775"/>
            </a:xfrm>
            <a:prstGeom prst="rect">
              <a:avLst/>
            </a:prstGeom>
          </p:spPr>
          <p:txBody>
            <a:bodyPr wrap="square">
              <a:spAutoFit/>
            </a:bodyPr>
            <a:lstStyle/>
            <a:p>
              <a:pPr marL="0" lvl="1" indent="0" algn="ctr">
                <a:spcBef>
                  <a:spcPts val="600"/>
                </a:spcBef>
                <a:buNone/>
              </a:pPr>
              <a:r>
                <a:rPr lang="da-DK" sz="1600" dirty="0">
                  <a:solidFill>
                    <a:schemeClr val="accent2"/>
                  </a:solidFill>
                  <a:sym typeface="TDC NET" panose="00000500000000000000" pitchFamily="2" charset="0"/>
                </a:rPr>
                <a:t>Frit valg for brugerne….</a:t>
              </a:r>
            </a:p>
          </p:txBody>
        </p:sp>
        <p:pic>
          <p:nvPicPr>
            <p:cNvPr id="6" name="Picture 5" descr="A picture containing outdoor, man, standing, ball&#10;&#10;Description automatically generated">
              <a:extLst>
                <a:ext uri="{FF2B5EF4-FFF2-40B4-BE49-F238E27FC236}">
                  <a16:creationId xmlns:a16="http://schemas.microsoft.com/office/drawing/2014/main" id="{4067F43F-91BC-45C9-9C05-DE0D524BC19E}"/>
                </a:ext>
              </a:extLst>
            </p:cNvPr>
            <p:cNvPicPr>
              <a:picLocks noChangeAspect="1"/>
            </p:cNvPicPr>
            <p:nvPr/>
          </p:nvPicPr>
          <p:blipFill rotWithShape="1">
            <a:blip r:embed="rId6">
              <a:extLst>
                <a:ext uri="{28A0092B-C50C-407E-A947-70E740481C1C}">
                  <a14:useLocalDpi xmlns:a14="http://schemas.microsoft.com/office/drawing/2010/main" val="0"/>
                </a:ext>
              </a:extLst>
            </a:blip>
            <a:srcRect l="14033" r="30039"/>
            <a:stretch/>
          </p:blipFill>
          <p:spPr>
            <a:xfrm>
              <a:off x="3625147" y="2468107"/>
              <a:ext cx="2188564" cy="2201151"/>
            </a:xfrm>
            <a:prstGeom prst="ellipse">
              <a:avLst/>
            </a:prstGeom>
          </p:spPr>
        </p:pic>
      </p:grpSp>
      <p:sp>
        <p:nvSpPr>
          <p:cNvPr id="18" name="Rektangel 22">
            <a:extLst>
              <a:ext uri="{FF2B5EF4-FFF2-40B4-BE49-F238E27FC236}">
                <a16:creationId xmlns:a16="http://schemas.microsoft.com/office/drawing/2014/main" id="{36B3437B-96FB-4010-B425-F79E870B08A0}"/>
              </a:ext>
            </a:extLst>
          </p:cNvPr>
          <p:cNvSpPr/>
          <p:nvPr/>
        </p:nvSpPr>
        <p:spPr>
          <a:xfrm>
            <a:off x="9839007" y="1353024"/>
            <a:ext cx="1836000" cy="584775"/>
          </a:xfrm>
          <a:prstGeom prst="rect">
            <a:avLst/>
          </a:prstGeom>
        </p:spPr>
        <p:txBody>
          <a:bodyPr wrap="square" anchor="t">
            <a:spAutoFit/>
          </a:bodyPr>
          <a:lstStyle/>
          <a:p>
            <a:pPr marL="0" lvl="1" indent="0" algn="ctr">
              <a:spcBef>
                <a:spcPts val="600"/>
              </a:spcBef>
              <a:buNone/>
            </a:pPr>
            <a:r>
              <a:rPr lang="da-DK" sz="1600" dirty="0">
                <a:solidFill>
                  <a:schemeClr val="accent2"/>
                </a:solidFill>
                <a:sym typeface="TDC NET" panose="00000500000000000000" pitchFamily="2" charset="0"/>
              </a:rPr>
              <a:t>Har aftaler med flere udbydere…</a:t>
            </a:r>
          </a:p>
        </p:txBody>
      </p:sp>
      <p:sp>
        <p:nvSpPr>
          <p:cNvPr id="15" name="Rektangel 22">
            <a:extLst>
              <a:ext uri="{FF2B5EF4-FFF2-40B4-BE49-F238E27FC236}">
                <a16:creationId xmlns:a16="http://schemas.microsoft.com/office/drawing/2014/main" id="{A33D646A-02A3-46F6-A733-865817E7F3EB}"/>
              </a:ext>
            </a:extLst>
          </p:cNvPr>
          <p:cNvSpPr/>
          <p:nvPr/>
        </p:nvSpPr>
        <p:spPr>
          <a:xfrm>
            <a:off x="4081445" y="1468460"/>
            <a:ext cx="1836000" cy="338554"/>
          </a:xfrm>
          <a:prstGeom prst="rect">
            <a:avLst/>
          </a:prstGeom>
        </p:spPr>
        <p:txBody>
          <a:bodyPr wrap="square">
            <a:spAutoFit/>
          </a:bodyPr>
          <a:lstStyle/>
          <a:p>
            <a:pPr marL="0" lvl="1" indent="0" algn="ctr">
              <a:spcBef>
                <a:spcPts val="600"/>
              </a:spcBef>
              <a:buNone/>
            </a:pPr>
            <a:r>
              <a:rPr lang="da-DK" sz="1600" dirty="0">
                <a:solidFill>
                  <a:schemeClr val="accent2"/>
                </a:solidFill>
                <a:sym typeface="TDC NET" panose="00000500000000000000" pitchFamily="2" charset="0"/>
              </a:rPr>
              <a:t>Åbent Netværk</a:t>
            </a:r>
          </a:p>
        </p:txBody>
      </p:sp>
      <p:sp>
        <p:nvSpPr>
          <p:cNvPr id="30" name="Rektangel 9">
            <a:extLst>
              <a:ext uri="{FF2B5EF4-FFF2-40B4-BE49-F238E27FC236}">
                <a16:creationId xmlns:a16="http://schemas.microsoft.com/office/drawing/2014/main" id="{C73A212B-F6FB-4810-BCA0-E06FBDAE1A45}"/>
              </a:ext>
            </a:extLst>
          </p:cNvPr>
          <p:cNvSpPr/>
          <p:nvPr/>
        </p:nvSpPr>
        <p:spPr>
          <a:xfrm>
            <a:off x="3905163" y="4606192"/>
            <a:ext cx="2188564" cy="1169551"/>
          </a:xfrm>
          <a:prstGeom prst="rect">
            <a:avLst/>
          </a:prstGeom>
        </p:spPr>
        <p:txBody>
          <a:bodyPr wrap="square" anchor="t">
            <a:spAutoFit/>
          </a:bodyPr>
          <a:lstStyle/>
          <a:p>
            <a:pPr marL="0" lvl="1" indent="0" algn="ctr">
              <a:buNone/>
            </a:pPr>
            <a:r>
              <a:rPr lang="da-DK" sz="1400" dirty="0">
                <a:solidFill>
                  <a:schemeClr val="accent1"/>
                </a:solidFill>
                <a:latin typeface="TDC NET"/>
                <a:cs typeface="TDC Light"/>
                <a:sym typeface="TDC NET" panose="00000500000000000000" pitchFamily="2" charset="0"/>
              </a:rPr>
              <a:t>…TDC Net har platformen til at håndtere alle udbydere der ønsker at være på vores net.</a:t>
            </a:r>
            <a:endParaRPr lang="da-DK" sz="1400" dirty="0">
              <a:solidFill>
                <a:schemeClr val="accent1"/>
              </a:solidFill>
              <a:latin typeface="TDC NET"/>
              <a:cs typeface="TDC Light"/>
            </a:endParaRPr>
          </a:p>
        </p:txBody>
      </p:sp>
      <p:sp>
        <p:nvSpPr>
          <p:cNvPr id="34" name="Rektangel 9">
            <a:extLst>
              <a:ext uri="{FF2B5EF4-FFF2-40B4-BE49-F238E27FC236}">
                <a16:creationId xmlns:a16="http://schemas.microsoft.com/office/drawing/2014/main" id="{A005C43A-BC9C-4D13-8611-2566FCB12B7C}"/>
              </a:ext>
            </a:extLst>
          </p:cNvPr>
          <p:cNvSpPr/>
          <p:nvPr/>
        </p:nvSpPr>
        <p:spPr>
          <a:xfrm>
            <a:off x="6867944" y="4547165"/>
            <a:ext cx="2188564" cy="1169551"/>
          </a:xfrm>
          <a:prstGeom prst="rect">
            <a:avLst/>
          </a:prstGeom>
        </p:spPr>
        <p:txBody>
          <a:bodyPr wrap="square" anchor="t">
            <a:spAutoFit/>
          </a:bodyPr>
          <a:lstStyle/>
          <a:p>
            <a:pPr lvl="0" algn="ctr"/>
            <a:r>
              <a:rPr lang="da-DK" sz="1400" dirty="0">
                <a:solidFill>
                  <a:schemeClr val="accent1"/>
                </a:solidFill>
              </a:rPr>
              <a:t>Beboerne kan købe et abonnement hos en udbyder efter </a:t>
            </a:r>
            <a:r>
              <a:rPr lang="da-DK" sz="1400" b="1" dirty="0">
                <a:solidFill>
                  <a:schemeClr val="accent1"/>
                </a:solidFill>
              </a:rPr>
              <a:t>eget valg</a:t>
            </a:r>
            <a:endParaRPr lang="da-DK" sz="1400" dirty="0">
              <a:solidFill>
                <a:schemeClr val="accent1"/>
              </a:solidFill>
            </a:endParaRPr>
          </a:p>
          <a:p>
            <a:pPr marL="0" lvl="1" indent="0" algn="ctr">
              <a:buNone/>
            </a:pPr>
            <a:endParaRPr lang="da-DK" sz="1400" dirty="0">
              <a:solidFill>
                <a:schemeClr val="accent1"/>
              </a:solidFill>
              <a:latin typeface="TDC NET"/>
            </a:endParaRPr>
          </a:p>
        </p:txBody>
      </p:sp>
      <p:sp>
        <p:nvSpPr>
          <p:cNvPr id="3" name="Ellipse 2">
            <a:extLst>
              <a:ext uri="{FF2B5EF4-FFF2-40B4-BE49-F238E27FC236}">
                <a16:creationId xmlns:a16="http://schemas.microsoft.com/office/drawing/2014/main" id="{4C36069F-00D3-45BE-827B-BDC3250253D5}"/>
              </a:ext>
            </a:extLst>
          </p:cNvPr>
          <p:cNvSpPr/>
          <p:nvPr/>
        </p:nvSpPr>
        <p:spPr>
          <a:xfrm>
            <a:off x="9677096" y="2107217"/>
            <a:ext cx="2342540" cy="232815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pic>
        <p:nvPicPr>
          <p:cNvPr id="39" name="Picture 74" descr="A person standing in front of a window&#10;&#10;Description automatically generated">
            <a:extLst>
              <a:ext uri="{FF2B5EF4-FFF2-40B4-BE49-F238E27FC236}">
                <a16:creationId xmlns:a16="http://schemas.microsoft.com/office/drawing/2014/main" id="{FA2FB8BC-F249-47BE-9D34-805D5B63889F}"/>
              </a:ext>
            </a:extLst>
          </p:cNvPr>
          <p:cNvPicPr>
            <a:picLocks noChangeAspect="1"/>
          </p:cNvPicPr>
          <p:nvPr/>
        </p:nvPicPr>
        <p:blipFill rotWithShape="1">
          <a:blip r:embed="rId7">
            <a:extLst>
              <a:ext uri="{28A0092B-C50C-407E-A947-70E740481C1C}">
                <a14:useLocalDpi xmlns:a14="http://schemas.microsoft.com/office/drawing/2010/main" val="0"/>
              </a:ext>
            </a:extLst>
          </a:blip>
          <a:srcRect l="33714"/>
          <a:stretch/>
        </p:blipFill>
        <p:spPr>
          <a:xfrm>
            <a:off x="3942684" y="2182693"/>
            <a:ext cx="2113522" cy="2125675"/>
          </a:xfrm>
          <a:prstGeom prst="ellipse">
            <a:avLst/>
          </a:prstGeom>
        </p:spPr>
      </p:pic>
      <p:sp>
        <p:nvSpPr>
          <p:cNvPr id="35" name="Rektangel 9">
            <a:extLst>
              <a:ext uri="{FF2B5EF4-FFF2-40B4-BE49-F238E27FC236}">
                <a16:creationId xmlns:a16="http://schemas.microsoft.com/office/drawing/2014/main" id="{CBDF607F-5043-44D8-80E5-BC50DE8FF837}"/>
              </a:ext>
            </a:extLst>
          </p:cNvPr>
          <p:cNvSpPr/>
          <p:nvPr/>
        </p:nvSpPr>
        <p:spPr>
          <a:xfrm>
            <a:off x="9677096" y="4667747"/>
            <a:ext cx="2188564" cy="523220"/>
          </a:xfrm>
          <a:prstGeom prst="rect">
            <a:avLst/>
          </a:prstGeom>
        </p:spPr>
        <p:txBody>
          <a:bodyPr wrap="square" anchor="t">
            <a:spAutoFit/>
          </a:bodyPr>
          <a:lstStyle/>
          <a:p>
            <a:pPr lvl="0" algn="ctr"/>
            <a:r>
              <a:rPr lang="da-DK" sz="1400" dirty="0">
                <a:solidFill>
                  <a:schemeClr val="accent1"/>
                </a:solidFill>
              </a:rPr>
              <a:t>…. Og flere er på vej…</a:t>
            </a:r>
          </a:p>
          <a:p>
            <a:pPr marL="0" lvl="1" indent="0" algn="ctr">
              <a:buNone/>
            </a:pPr>
            <a:endParaRPr lang="da-DK" sz="1400" dirty="0">
              <a:solidFill>
                <a:schemeClr val="accent1"/>
              </a:solidFill>
              <a:latin typeface="TDC NET"/>
            </a:endParaRPr>
          </a:p>
        </p:txBody>
      </p:sp>
      <p:pic>
        <p:nvPicPr>
          <p:cNvPr id="36" name="Picture 2" descr="A truck is parked in front of a building&#10;&#10;Description automatically generated">
            <a:extLst>
              <a:ext uri="{FF2B5EF4-FFF2-40B4-BE49-F238E27FC236}">
                <a16:creationId xmlns:a16="http://schemas.microsoft.com/office/drawing/2014/main" id="{2216123A-35C4-4FA6-A1E9-1F0884C14AAC}"/>
              </a:ext>
            </a:extLst>
          </p:cNvPr>
          <p:cNvPicPr>
            <a:picLocks noChangeAspect="1"/>
          </p:cNvPicPr>
          <p:nvPr/>
        </p:nvPicPr>
        <p:blipFill rotWithShape="1">
          <a:blip r:embed="rId8">
            <a:extLst>
              <a:ext uri="{28A0092B-C50C-407E-A947-70E740481C1C}">
                <a14:useLocalDpi xmlns:a14="http://schemas.microsoft.com/office/drawing/2010/main" val="0"/>
              </a:ext>
            </a:extLst>
          </a:blip>
          <a:srcRect l="23627" t="364" r="9592" b="-364"/>
          <a:stretch/>
        </p:blipFill>
        <p:spPr>
          <a:xfrm>
            <a:off x="730083" y="2182693"/>
            <a:ext cx="2204483" cy="2200730"/>
          </a:xfrm>
          <a:prstGeom prst="ellipse">
            <a:avLst/>
          </a:prstGeom>
        </p:spPr>
      </p:pic>
      <p:sp>
        <p:nvSpPr>
          <p:cNvPr id="40" name="Rektangel 22">
            <a:extLst>
              <a:ext uri="{FF2B5EF4-FFF2-40B4-BE49-F238E27FC236}">
                <a16:creationId xmlns:a16="http://schemas.microsoft.com/office/drawing/2014/main" id="{51C140D6-A672-4243-9AB8-E6A75091538C}"/>
              </a:ext>
            </a:extLst>
          </p:cNvPr>
          <p:cNvSpPr/>
          <p:nvPr/>
        </p:nvSpPr>
        <p:spPr>
          <a:xfrm>
            <a:off x="848055" y="1468460"/>
            <a:ext cx="1836000" cy="584775"/>
          </a:xfrm>
          <a:prstGeom prst="rect">
            <a:avLst/>
          </a:prstGeom>
        </p:spPr>
        <p:txBody>
          <a:bodyPr wrap="square">
            <a:spAutoFit/>
          </a:bodyPr>
          <a:lstStyle/>
          <a:p>
            <a:pPr marL="0" lvl="1" indent="0" algn="ctr">
              <a:spcBef>
                <a:spcPts val="600"/>
              </a:spcBef>
              <a:buNone/>
            </a:pPr>
            <a:r>
              <a:rPr lang="da-DK" sz="1600" dirty="0">
                <a:solidFill>
                  <a:schemeClr val="accent2"/>
                </a:solidFill>
                <a:sym typeface="TDC NET" panose="00000500000000000000" pitchFamily="2" charset="0"/>
              </a:rPr>
              <a:t>Vi </a:t>
            </a:r>
            <a:r>
              <a:rPr lang="da-DK" sz="1600">
                <a:solidFill>
                  <a:schemeClr val="accent2"/>
                </a:solidFill>
                <a:sym typeface="TDC NET" panose="00000500000000000000" pitchFamily="2" charset="0"/>
              </a:rPr>
              <a:t>investerer</a:t>
            </a:r>
            <a:r>
              <a:rPr lang="da-DK" sz="1600" dirty="0">
                <a:solidFill>
                  <a:schemeClr val="accent2"/>
                </a:solidFill>
                <a:sym typeface="TDC NET" panose="00000500000000000000" pitchFamily="2" charset="0"/>
              </a:rPr>
              <a:t> i fremtiden</a:t>
            </a:r>
          </a:p>
        </p:txBody>
      </p:sp>
      <p:sp>
        <p:nvSpPr>
          <p:cNvPr id="53" name="Rektangel 9">
            <a:extLst>
              <a:ext uri="{FF2B5EF4-FFF2-40B4-BE49-F238E27FC236}">
                <a16:creationId xmlns:a16="http://schemas.microsoft.com/office/drawing/2014/main" id="{9F2FD47F-5184-454A-B134-5A189F39192C}"/>
              </a:ext>
            </a:extLst>
          </p:cNvPr>
          <p:cNvSpPr/>
          <p:nvPr/>
        </p:nvSpPr>
        <p:spPr>
          <a:xfrm>
            <a:off x="746002" y="4614654"/>
            <a:ext cx="2188564" cy="738664"/>
          </a:xfrm>
          <a:prstGeom prst="rect">
            <a:avLst/>
          </a:prstGeom>
        </p:spPr>
        <p:txBody>
          <a:bodyPr wrap="square" anchor="t">
            <a:spAutoFit/>
          </a:bodyPr>
          <a:lstStyle/>
          <a:p>
            <a:pPr marL="0" lvl="1" indent="0" algn="ctr">
              <a:buNone/>
            </a:pPr>
            <a:r>
              <a:rPr lang="da-DK" sz="1400" dirty="0">
                <a:solidFill>
                  <a:schemeClr val="accent1"/>
                </a:solidFill>
                <a:latin typeface="TDC NET"/>
                <a:cs typeface="TDC Light"/>
                <a:sym typeface="TDC NET" panose="00000500000000000000" pitchFamily="2" charset="0"/>
              </a:rPr>
              <a:t>…så I kan være på forkant med udviklingen.</a:t>
            </a:r>
            <a:endParaRPr lang="da-DK" sz="1400" dirty="0">
              <a:solidFill>
                <a:schemeClr val="accent1"/>
              </a:solidFill>
              <a:latin typeface="TDC NET"/>
              <a:cs typeface="TDC Light"/>
            </a:endParaRPr>
          </a:p>
        </p:txBody>
      </p:sp>
      <p:pic>
        <p:nvPicPr>
          <p:cNvPr id="20" name="Picture 6" descr="Billedresultat for Bolignet">
            <a:extLst>
              <a:ext uri="{FF2B5EF4-FFF2-40B4-BE49-F238E27FC236}">
                <a16:creationId xmlns:a16="http://schemas.microsoft.com/office/drawing/2014/main" id="{C97FB40D-7049-48BA-9972-B50E8835EF3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157791" y="2385743"/>
            <a:ext cx="865448" cy="163292"/>
          </a:xfrm>
          <a:prstGeom prst="rect">
            <a:avLst/>
          </a:prstGeom>
          <a:noFill/>
          <a:extLst>
            <a:ext uri="{909E8E84-426E-40DD-AFC4-6F175D3DCCD1}">
              <a14:hiddenFill xmlns:a14="http://schemas.microsoft.com/office/drawing/2010/main">
                <a:solidFill>
                  <a:srgbClr val="FFFFFF"/>
                </a:solidFill>
              </a14:hiddenFill>
            </a:ext>
          </a:extLst>
        </p:spPr>
      </p:pic>
      <p:pic>
        <p:nvPicPr>
          <p:cNvPr id="41" name="Billede 40">
            <a:extLst>
              <a:ext uri="{FF2B5EF4-FFF2-40B4-BE49-F238E27FC236}">
                <a16:creationId xmlns:a16="http://schemas.microsoft.com/office/drawing/2014/main" id="{5980EDA7-F0DF-4AD8-9D5F-6D513AE8C9B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938038" y="2534495"/>
            <a:ext cx="755634" cy="223221"/>
          </a:xfrm>
          <a:prstGeom prst="rect">
            <a:avLst/>
          </a:prstGeom>
        </p:spPr>
      </p:pic>
      <p:pic>
        <p:nvPicPr>
          <p:cNvPr id="42" name="Billede 211">
            <a:extLst>
              <a:ext uri="{FF2B5EF4-FFF2-40B4-BE49-F238E27FC236}">
                <a16:creationId xmlns:a16="http://schemas.microsoft.com/office/drawing/2014/main" id="{B7F74AAD-235C-482A-A5FF-CCA930FEA69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925500" y="2635290"/>
            <a:ext cx="865448" cy="137192"/>
          </a:xfrm>
          <a:prstGeom prst="rect">
            <a:avLst/>
          </a:prstGeom>
        </p:spPr>
      </p:pic>
      <p:pic>
        <p:nvPicPr>
          <p:cNvPr id="44" name="Billede 43" descr="Et billede, der indeholder tekst, skilt&#10;&#10;Beskrivelse, der er oprettet med høj sikkerhed">
            <a:extLst>
              <a:ext uri="{FF2B5EF4-FFF2-40B4-BE49-F238E27FC236}">
                <a16:creationId xmlns:a16="http://schemas.microsoft.com/office/drawing/2014/main" id="{D5CCB231-AEE4-4AE5-B088-6429D659400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52849" y="2823453"/>
            <a:ext cx="731190" cy="226701"/>
          </a:xfrm>
          <a:prstGeom prst="rect">
            <a:avLst/>
          </a:prstGeom>
        </p:spPr>
      </p:pic>
      <p:pic>
        <p:nvPicPr>
          <p:cNvPr id="45" name="Billede 44">
            <a:extLst>
              <a:ext uri="{FF2B5EF4-FFF2-40B4-BE49-F238E27FC236}">
                <a16:creationId xmlns:a16="http://schemas.microsoft.com/office/drawing/2014/main" id="{C5EBCE7D-CD58-4BDB-B994-D13A0310F65F}"/>
              </a:ext>
            </a:extLst>
          </p:cNvPr>
          <p:cNvPicPr>
            <a:picLocks noChangeAspect="1"/>
          </p:cNvPicPr>
          <p:nvPr/>
        </p:nvPicPr>
        <p:blipFill>
          <a:blip r:embed="rId13"/>
          <a:stretch>
            <a:fillRect/>
          </a:stretch>
        </p:blipFill>
        <p:spPr>
          <a:xfrm>
            <a:off x="9769740" y="3141244"/>
            <a:ext cx="772332" cy="194691"/>
          </a:xfrm>
          <a:prstGeom prst="rect">
            <a:avLst/>
          </a:prstGeom>
        </p:spPr>
      </p:pic>
      <p:pic>
        <p:nvPicPr>
          <p:cNvPr id="46" name="Picture 4" descr="Billedresultat for Kviknet">
            <a:extLst>
              <a:ext uri="{FF2B5EF4-FFF2-40B4-BE49-F238E27FC236}">
                <a16:creationId xmlns:a16="http://schemas.microsoft.com/office/drawing/2014/main" id="{78E79DDD-E672-4747-9175-5C5C37B1C6DC}"/>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820360" y="3291011"/>
            <a:ext cx="772332" cy="16873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Telenor MaxSpeed – Spendless.dk">
            <a:extLst>
              <a:ext uri="{FF2B5EF4-FFF2-40B4-BE49-F238E27FC236}">
                <a16:creationId xmlns:a16="http://schemas.microsoft.com/office/drawing/2014/main" id="{699229C3-D28D-40D8-92EC-1CAB941FF67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39007" y="3287437"/>
            <a:ext cx="827176" cy="58522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8" descr="Norlys Erhverv">
            <a:extLst>
              <a:ext uri="{FF2B5EF4-FFF2-40B4-BE49-F238E27FC236}">
                <a16:creationId xmlns:a16="http://schemas.microsoft.com/office/drawing/2014/main" id="{567C9D07-5524-4AB3-A733-878BB82FF3A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855372" y="3604269"/>
            <a:ext cx="751124" cy="235607"/>
          </a:xfrm>
          <a:prstGeom prst="rect">
            <a:avLst/>
          </a:prstGeom>
          <a:noFill/>
          <a:extLst>
            <a:ext uri="{909E8E84-426E-40DD-AFC4-6F175D3DCCD1}">
              <a14:hiddenFill xmlns:a14="http://schemas.microsoft.com/office/drawing/2010/main">
                <a:solidFill>
                  <a:srgbClr val="FFFFFF"/>
                </a:solidFill>
              </a14:hiddenFill>
            </a:ext>
          </a:extLst>
        </p:spPr>
      </p:pic>
      <p:pic>
        <p:nvPicPr>
          <p:cNvPr id="50" name="Billede 49">
            <a:extLst>
              <a:ext uri="{FF2B5EF4-FFF2-40B4-BE49-F238E27FC236}">
                <a16:creationId xmlns:a16="http://schemas.microsoft.com/office/drawing/2014/main" id="{774F143B-D833-4E17-8ECD-027D862F4FF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152464" y="2927133"/>
            <a:ext cx="958150" cy="409529"/>
          </a:xfrm>
          <a:prstGeom prst="rect">
            <a:avLst/>
          </a:prstGeom>
        </p:spPr>
      </p:pic>
      <p:pic>
        <p:nvPicPr>
          <p:cNvPr id="51" name="Picture 16" descr="Telia">
            <a:extLst>
              <a:ext uri="{FF2B5EF4-FFF2-40B4-BE49-F238E27FC236}">
                <a16:creationId xmlns:a16="http://schemas.microsoft.com/office/drawing/2014/main" id="{27B515EE-98F8-4549-ACE5-03430F14311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019297" y="3783679"/>
            <a:ext cx="746134" cy="418828"/>
          </a:xfrm>
          <a:prstGeom prst="rect">
            <a:avLst/>
          </a:prstGeom>
          <a:noFill/>
          <a:extLst>
            <a:ext uri="{909E8E84-426E-40DD-AFC4-6F175D3DCCD1}">
              <a14:hiddenFill xmlns:a14="http://schemas.microsoft.com/office/drawing/2010/main">
                <a:solidFill>
                  <a:srgbClr val="FFFFFF"/>
                </a:solidFill>
              </a14:hiddenFill>
            </a:ext>
          </a:extLst>
        </p:spPr>
      </p:pic>
      <p:pic>
        <p:nvPicPr>
          <p:cNvPr id="52" name="Billede 51">
            <a:extLst>
              <a:ext uri="{FF2B5EF4-FFF2-40B4-BE49-F238E27FC236}">
                <a16:creationId xmlns:a16="http://schemas.microsoft.com/office/drawing/2014/main" id="{36118B6B-92D9-463D-80D8-17CC388F1FA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0380676" y="4113521"/>
            <a:ext cx="768831" cy="175657"/>
          </a:xfrm>
          <a:prstGeom prst="rect">
            <a:avLst/>
          </a:prstGeom>
        </p:spPr>
      </p:pic>
      <p:pic>
        <p:nvPicPr>
          <p:cNvPr id="22537" name="Picture 9" descr="ipnordic">
            <a:extLst>
              <a:ext uri="{FF2B5EF4-FFF2-40B4-BE49-F238E27FC236}">
                <a16:creationId xmlns:a16="http://schemas.microsoft.com/office/drawing/2014/main" id="{FEE7D6FC-F7FA-4090-8842-9A65233B764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063749" y="3729921"/>
            <a:ext cx="418828" cy="41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322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45E7AF-6C60-42F5-8FFA-5BEEBBCD4E15}"/>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7" name="Object 6" hidden="1">
                        <a:extLst>
                          <a:ext uri="{FF2B5EF4-FFF2-40B4-BE49-F238E27FC236}">
                            <a16:creationId xmlns:a16="http://schemas.microsoft.com/office/drawing/2014/main" id="{3C45E7AF-6C60-42F5-8FFA-5BEEBBCD4E1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spAutoFit/>
          </a:bodyPr>
          <a:lstStyle/>
          <a:p>
            <a:r>
              <a:rPr lang="da-DK"/>
              <a:t>Agenda</a:t>
            </a:r>
            <a:endParaRPr lang="da-DK" dirty="0"/>
          </a:p>
        </p:txBody>
      </p:sp>
      <p:graphicFrame>
        <p:nvGraphicFramePr>
          <p:cNvPr id="4" name="Table 3"/>
          <p:cNvGraphicFramePr>
            <a:graphicFrameLocks noGrp="1"/>
          </p:cNvGraphicFramePr>
          <p:nvPr>
            <p:custDataLst>
              <p:custData r:id="rId4"/>
              <p:tags r:id="rId5"/>
            </p:custDataLst>
            <p:extLst>
              <p:ext uri="{D42A27DB-BD31-4B8C-83A1-F6EECF244321}">
                <p14:modId xmlns:p14="http://schemas.microsoft.com/office/powerpoint/2010/main" val="2402782649"/>
              </p:ext>
            </p:extLst>
          </p:nvPr>
        </p:nvGraphicFramePr>
        <p:xfrm>
          <a:off x="1070330" y="1594332"/>
          <a:ext cx="7461834" cy="2672050"/>
        </p:xfrm>
        <a:graphic>
          <a:graphicData uri="http://schemas.openxmlformats.org/drawingml/2006/table">
            <a:tbl>
              <a:tblPr firstRow="1" bandRow="1">
                <a:tableStyleId>{2D5ABB26-0587-4C30-8999-92F81FD0307C}</a:tableStyleId>
              </a:tblPr>
              <a:tblGrid>
                <a:gridCol w="7461834">
                  <a:extLst>
                    <a:ext uri="{9D8B030D-6E8A-4147-A177-3AD203B41FA5}">
                      <a16:colId xmlns:a16="http://schemas.microsoft.com/office/drawing/2014/main" val="1367209598"/>
                    </a:ext>
                  </a:extLst>
                </a:gridCol>
              </a:tblGrid>
              <a:tr h="534410">
                <a:tc>
                  <a:txBody>
                    <a:bodyPr/>
                    <a:lstStyle/>
                    <a:p>
                      <a:pPr marL="539750" lvl="0" indent="-539750" algn="l" rtl="0" eaLnBrk="1" fontAlgn="auto" hangingPunct="1">
                        <a:lnSpc>
                          <a:spcPct val="100000"/>
                        </a:lnSpc>
                        <a:spcBef>
                          <a:spcPts val="0"/>
                        </a:spcBef>
                        <a:spcAft>
                          <a:spcPts val="0"/>
                        </a:spcAft>
                        <a:buClrTx/>
                        <a:buFont typeface="+mj-lt"/>
                        <a:buAutoNum type="arabicPeriod"/>
                      </a:pPr>
                      <a:r>
                        <a:rPr lang="da-DK" sz="2400" b="1" baseline="0" noProof="0" dirty="0">
                          <a:solidFill>
                            <a:srgbClr val="002060"/>
                          </a:solidFill>
                          <a:latin typeface="TDC NET" panose="00000500000000000000" pitchFamily="2" charset="0"/>
                          <a:ea typeface="+mn-ea"/>
                          <a:cs typeface="+mn-cs"/>
                          <a:sym typeface="TDC NET" panose="00000500000000000000" pitchFamily="2" charset="0"/>
                        </a:rPr>
                        <a:t>TDC NET introduktion</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442068709"/>
                  </a:ext>
                </a:extLst>
              </a:tr>
              <a:tr h="534410">
                <a:tc>
                  <a:txBody>
                    <a:bodyPr/>
                    <a:lstStyle/>
                    <a:p>
                      <a:pPr marL="539750" lvl="0" indent="-539750" algn="l" rtl="0" eaLnBrk="1" fontAlgn="auto" hangingPunct="1">
                        <a:lnSpc>
                          <a:spcPct val="100000"/>
                        </a:lnSpc>
                        <a:spcBef>
                          <a:spcPts val="0"/>
                        </a:spcBef>
                        <a:spcAft>
                          <a:spcPts val="0"/>
                        </a:spcAft>
                        <a:buClrTx/>
                        <a:buFont typeface="+mj-lt"/>
                        <a:buAutoNum type="arabicPeriod" startAt="2"/>
                      </a:pPr>
                      <a:r>
                        <a:rPr lang="da-DK" sz="2400" b="1" baseline="0" noProof="0" dirty="0">
                          <a:solidFill>
                            <a:schemeClr val="accent2"/>
                          </a:solidFill>
                          <a:latin typeface="TDC NET" panose="00000500000000000000" pitchFamily="2" charset="0"/>
                          <a:ea typeface="+mn-ea"/>
                          <a:cs typeface="+mn-cs"/>
                          <a:sym typeface="TDC NET" panose="00000500000000000000" pitchFamily="2" charset="0"/>
                        </a:rPr>
                        <a:t>Hvorfor vælge tilslutning til TDC NET Fiber?</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1450701"/>
                  </a:ext>
                </a:extLst>
              </a:tr>
              <a:tr h="534410">
                <a:tc>
                  <a:txBody>
                    <a:bodyPr/>
                    <a:lstStyle/>
                    <a:p>
                      <a:pPr marL="517525" lvl="0" indent="-517525" algn="l" rtl="0" eaLnBrk="1" fontAlgn="auto" hangingPunct="1">
                        <a:lnSpc>
                          <a:spcPct val="100000"/>
                        </a:lnSpc>
                        <a:spcBef>
                          <a:spcPts val="0"/>
                        </a:spcBef>
                        <a:spcAft>
                          <a:spcPts val="0"/>
                        </a:spcAft>
                        <a:buClrTx/>
                        <a:buFont typeface="+mj-lt"/>
                        <a:buAutoNum type="arabicPeriod" startAt="3"/>
                      </a:pPr>
                      <a:r>
                        <a:rPr lang="da-DK" sz="2400" b="1" baseline="0" noProof="0" dirty="0">
                          <a:solidFill>
                            <a:schemeClr val="accent1"/>
                          </a:solidFill>
                          <a:latin typeface="TDC NET" panose="00000500000000000000" pitchFamily="2" charset="0"/>
                          <a:ea typeface="+mn-ea"/>
                          <a:cs typeface="+mn-cs"/>
                          <a:sym typeface="TDC NET" panose="00000500000000000000" pitchFamily="2" charset="0"/>
                        </a:rPr>
                        <a:t>Hvordan med det praktiske?</a:t>
                      </a:r>
                    </a:p>
                  </a:txBody>
                  <a:tcPr marL="68580" marR="68580" marT="34290" marB="34290" anchor="ctr">
                    <a:lnL w="0">
                      <a:solidFill>
                        <a:srgbClr val="FFFFFF"/>
                      </a:solidFill>
                    </a:lnL>
                    <a:lnR w="0">
                      <a:solidFill>
                        <a:srgbClr val="FFFFFF"/>
                      </a:solidFill>
                    </a:lnR>
                    <a:lnT w="0">
                      <a:solidFill>
                        <a:srgbClr val="FFFFFF"/>
                      </a:solidFill>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012231103"/>
                  </a:ext>
                </a:extLst>
              </a:tr>
              <a:tr h="534410">
                <a:tc>
                  <a:txBody>
                    <a:bodyPr/>
                    <a:lstStyle/>
                    <a:p>
                      <a:pPr marL="517525" marR="0" lvl="0" indent="-517525"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da-DK" sz="2400" b="1" i="0" u="none" strike="noStrike" kern="1200" cap="none" spc="0" normalizeH="0" baseline="0" noProof="0" dirty="0">
                          <a:ln>
                            <a:noFill/>
                          </a:ln>
                          <a:solidFill>
                            <a:schemeClr val="accent2"/>
                          </a:solidFill>
                          <a:effectLst/>
                          <a:uLnTx/>
                          <a:uFillTx/>
                          <a:latin typeface="TDC NET" panose="00000500000000000000" pitchFamily="2" charset="0"/>
                          <a:ea typeface="+mn-ea"/>
                          <a:cs typeface="+mn-cs"/>
                          <a:sym typeface="TDC NET" panose="00000500000000000000" pitchFamily="2" charset="0"/>
                        </a:rPr>
                        <a:t>Opsummering, spørgsmål</a:t>
                      </a:r>
                    </a:p>
                  </a:txBody>
                  <a:tcPr marL="68580" marR="68580" marT="34290" marB="34290" anchor="ctr">
                    <a:lnL w="0">
                      <a:solidFill>
                        <a:srgbClr val="FFFFFF"/>
                      </a:solidFill>
                    </a:lnL>
                    <a:lnR w="0">
                      <a:solidFill>
                        <a:srgbClr val="FFFFFF"/>
                      </a:solidFill>
                    </a:lnR>
                    <a:lnT w="0">
                      <a:solidFill>
                        <a:srgbClr val="FFFFFF"/>
                      </a:solidFill>
                    </a:lnT>
                    <a:lnB w="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696943"/>
                  </a:ext>
                </a:extLst>
              </a:tr>
              <a:tr h="53441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a-DK" sz="2400" b="1" i="0" u="none" strike="noStrike" kern="1200" cap="none" spc="0" normalizeH="0" baseline="0" noProof="0" dirty="0">
                        <a:ln>
                          <a:noFill/>
                        </a:ln>
                        <a:solidFill>
                          <a:schemeClr val="accent2">
                            <a:lumMod val="100000"/>
                          </a:schemeClr>
                        </a:solidFill>
                        <a:effectLst/>
                        <a:uLnTx/>
                        <a:uFillTx/>
                        <a:latin typeface="TDC NET" panose="00000500000000000000" pitchFamily="2" charset="0"/>
                        <a:ea typeface="+mn-ea"/>
                        <a:cs typeface="+mn-cs"/>
                        <a:sym typeface="TDC NET" panose="00000500000000000000" pitchFamily="2" charset="0"/>
                      </a:endParaRPr>
                    </a:p>
                  </a:txBody>
                  <a:tcPr marL="68580" marR="68580" marT="34290" marB="34290" anchor="ctr">
                    <a:lnL w="0">
                      <a:solidFill>
                        <a:srgbClr val="FFFFFF"/>
                      </a:solidFill>
                    </a:lnL>
                    <a:lnR w="0">
                      <a:solidFill>
                        <a:srgbClr val="FFFFFF"/>
                      </a:solidFill>
                    </a:lnR>
                    <a:lnT w="0" cap="flat" cmpd="sng" algn="ctr">
                      <a:solidFill>
                        <a:srgbClr val="FFFFFF"/>
                      </a:solidFill>
                      <a:prstDash val="solid"/>
                      <a:round/>
                      <a:headEnd type="none" w="med" len="med"/>
                      <a:tailEnd type="none" w="med" len="med"/>
                    </a:lnT>
                    <a:lnB w="0">
                      <a:solidFill>
                        <a:srgbClr val="FFFFFF"/>
                      </a:solidFill>
                    </a:lnB>
                    <a:lnTlToBr w="12700" cmpd="sng">
                      <a:noFill/>
                      <a:prstDash val="solid"/>
                    </a:lnTlToBr>
                    <a:lnBlToTr w="12700" cmpd="sng">
                      <a:noFill/>
                      <a:prstDash val="solid"/>
                    </a:lnBlToTr>
                    <a:noFill/>
                  </a:tcPr>
                </a:tc>
                <a:extLst>
                  <a:ext uri="{0D108BD9-81ED-4DB2-BD59-A6C34878D82A}">
                    <a16:rowId xmlns:a16="http://schemas.microsoft.com/office/drawing/2014/main" val="4126920813"/>
                  </a:ext>
                </a:extLst>
              </a:tr>
            </a:tbl>
          </a:graphicData>
        </a:graphic>
      </p:graphicFrame>
      <p:sp>
        <p:nvSpPr>
          <p:cNvPr id="8" name="Grafik 267">
            <a:extLst>
              <a:ext uri="{FF2B5EF4-FFF2-40B4-BE49-F238E27FC236}">
                <a16:creationId xmlns:a16="http://schemas.microsoft.com/office/drawing/2014/main" id="{7DA04FCF-2F5F-4CE9-921B-692692BE2829}"/>
              </a:ext>
            </a:extLst>
          </p:cNvPr>
          <p:cNvSpPr/>
          <p:nvPr>
            <p:custDataLst>
              <p:tags r:id="rId6"/>
            </p:custDataLst>
          </p:nvPr>
        </p:nvSpPr>
        <p:spPr>
          <a:xfrm>
            <a:off x="489146" y="2774337"/>
            <a:ext cx="412287" cy="312039"/>
          </a:xfrm>
          <a:custGeom>
            <a:avLst/>
            <a:gdLst>
              <a:gd name="connsiteX0" fmla="*/ 257157 w 412287"/>
              <a:gd name="connsiteY0" fmla="*/ 0 h 312039"/>
              <a:gd name="connsiteX1" fmla="*/ 228198 w 412287"/>
              <a:gd name="connsiteY1" fmla="*/ 28959 h 312039"/>
              <a:gd name="connsiteX2" fmla="*/ 335675 w 412287"/>
              <a:gd name="connsiteY2" fmla="*/ 136422 h 312039"/>
              <a:gd name="connsiteX3" fmla="*/ 0 w 412287"/>
              <a:gd name="connsiteY3" fmla="*/ 136422 h 312039"/>
              <a:gd name="connsiteX4" fmla="*/ 0 w 412287"/>
              <a:gd name="connsiteY4" fmla="*/ 177354 h 312039"/>
              <a:gd name="connsiteX5" fmla="*/ 334207 w 412287"/>
              <a:gd name="connsiteY5" fmla="*/ 177354 h 312039"/>
              <a:gd name="connsiteX6" fmla="*/ 228227 w 412287"/>
              <a:gd name="connsiteY6" fmla="*/ 283363 h 312039"/>
              <a:gd name="connsiteX7" fmla="*/ 257185 w 412287"/>
              <a:gd name="connsiteY7" fmla="*/ 312322 h 312039"/>
              <a:gd name="connsiteX8" fmla="*/ 413318 w 412287"/>
              <a:gd name="connsiteY8" fmla="*/ 156147 h 312039"/>
              <a:gd name="connsiteX9" fmla="*/ 257157 w 412287"/>
              <a:gd name="connsiteY9" fmla="*/ 0 h 31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287" h="312039">
                <a:moveTo>
                  <a:pt x="257157" y="0"/>
                </a:moveTo>
                <a:lnTo>
                  <a:pt x="228198" y="28959"/>
                </a:lnTo>
                <a:lnTo>
                  <a:pt x="335675" y="136422"/>
                </a:lnTo>
                <a:lnTo>
                  <a:pt x="0" y="136422"/>
                </a:lnTo>
                <a:lnTo>
                  <a:pt x="0" y="177354"/>
                </a:lnTo>
                <a:lnTo>
                  <a:pt x="334207" y="177354"/>
                </a:lnTo>
                <a:lnTo>
                  <a:pt x="228227" y="283363"/>
                </a:lnTo>
                <a:lnTo>
                  <a:pt x="257185" y="312322"/>
                </a:lnTo>
                <a:lnTo>
                  <a:pt x="413318" y="156147"/>
                </a:lnTo>
                <a:lnTo>
                  <a:pt x="257157" y="0"/>
                </a:lnTo>
                <a:close/>
              </a:path>
            </a:pathLst>
          </a:custGeom>
          <a:solidFill>
            <a:srgbClr val="3755D7"/>
          </a:solidFill>
          <a:ln w="1401" cap="flat">
            <a:noFill/>
            <a:prstDash val="solid"/>
            <a:miter/>
          </a:ln>
        </p:spPr>
        <p:txBody>
          <a:bodyPr rtlCol="0" anchor="ctr"/>
          <a:lstStyle/>
          <a:p>
            <a:endParaRPr lang="da-DK" dirty="0"/>
          </a:p>
        </p:txBody>
      </p:sp>
    </p:spTree>
    <p:custDataLst>
      <p:custData r:id="rId1"/>
      <p:tags r:id="rId2"/>
    </p:custDataLst>
    <p:extLst>
      <p:ext uri="{BB962C8B-B14F-4D97-AF65-F5344CB8AC3E}">
        <p14:creationId xmlns:p14="http://schemas.microsoft.com/office/powerpoint/2010/main" val="41858109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el 1">
            <a:extLst>
              <a:ext uri="{FF2B5EF4-FFF2-40B4-BE49-F238E27FC236}">
                <a16:creationId xmlns:a16="http://schemas.microsoft.com/office/drawing/2014/main" id="{46567D2E-D29D-4EC7-8C14-9F4497AEA237}"/>
              </a:ext>
            </a:extLst>
          </p:cNvPr>
          <p:cNvSpPr>
            <a:spLocks noGrp="1"/>
          </p:cNvSpPr>
          <p:nvPr>
            <p:ph type="ctrTitle"/>
          </p:nvPr>
        </p:nvSpPr>
        <p:spPr>
          <a:xfrm>
            <a:off x="1" y="651921"/>
            <a:ext cx="12192000" cy="812530"/>
          </a:xfrm>
        </p:spPr>
        <p:txBody>
          <a:bodyPr>
            <a:normAutofit/>
          </a:bodyPr>
          <a:lstStyle/>
          <a:p>
            <a:pPr algn="ctr"/>
            <a:r>
              <a:rPr lang="da-DK" dirty="0"/>
              <a:t>Overblik over fiberleverance</a:t>
            </a:r>
          </a:p>
        </p:txBody>
      </p:sp>
      <p:sp>
        <p:nvSpPr>
          <p:cNvPr id="66" name="Pil: vinkel 65">
            <a:extLst>
              <a:ext uri="{FF2B5EF4-FFF2-40B4-BE49-F238E27FC236}">
                <a16:creationId xmlns:a16="http://schemas.microsoft.com/office/drawing/2014/main" id="{756B8597-9692-49F9-8DF6-AEC32EB8CD7C}"/>
              </a:ext>
            </a:extLst>
          </p:cNvPr>
          <p:cNvSpPr/>
          <p:nvPr/>
        </p:nvSpPr>
        <p:spPr>
          <a:xfrm>
            <a:off x="5365159" y="2485947"/>
            <a:ext cx="2348074" cy="958915"/>
          </a:xfrm>
          <a:prstGeom prst="chevron">
            <a:avLst/>
          </a:prstGeom>
          <a:solidFill>
            <a:schemeClr val="accent3"/>
          </a:solidFill>
          <a:ln>
            <a:solidFill>
              <a:schemeClr val="tx1"/>
            </a:solid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l">
              <a:lnSpc>
                <a:spcPct val="90000"/>
              </a:lnSpc>
            </a:pPr>
            <a:endParaRPr lang="da-DK" sz="1400" noProof="0" dirty="0" err="1">
              <a:solidFill>
                <a:schemeClr val="tx1"/>
              </a:solidFill>
            </a:endParaRPr>
          </a:p>
        </p:txBody>
      </p:sp>
      <p:sp>
        <p:nvSpPr>
          <p:cNvPr id="69" name="Pil: pentagon 68">
            <a:extLst>
              <a:ext uri="{FF2B5EF4-FFF2-40B4-BE49-F238E27FC236}">
                <a16:creationId xmlns:a16="http://schemas.microsoft.com/office/drawing/2014/main" id="{6CBF39A1-2BD4-4992-91E3-A4CBA09B73EB}"/>
              </a:ext>
            </a:extLst>
          </p:cNvPr>
          <p:cNvSpPr/>
          <p:nvPr/>
        </p:nvSpPr>
        <p:spPr>
          <a:xfrm>
            <a:off x="1743024" y="2477527"/>
            <a:ext cx="1975749" cy="962244"/>
          </a:xfrm>
          <a:prstGeom prst="homePlate">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l">
              <a:lnSpc>
                <a:spcPct val="90000"/>
              </a:lnSpc>
            </a:pPr>
            <a:endParaRPr lang="da-DK" sz="1400" noProof="0" dirty="0" err="1"/>
          </a:p>
        </p:txBody>
      </p:sp>
      <p:sp>
        <p:nvSpPr>
          <p:cNvPr id="70" name="Tekstfelt 69">
            <a:extLst>
              <a:ext uri="{FF2B5EF4-FFF2-40B4-BE49-F238E27FC236}">
                <a16:creationId xmlns:a16="http://schemas.microsoft.com/office/drawing/2014/main" id="{E75F93F2-3557-488E-B66E-F6995E54098C}"/>
              </a:ext>
            </a:extLst>
          </p:cNvPr>
          <p:cNvSpPr txBox="1"/>
          <p:nvPr/>
        </p:nvSpPr>
        <p:spPr bwMode="gray">
          <a:xfrm>
            <a:off x="2791531" y="3067402"/>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Opstart</a:t>
            </a:r>
          </a:p>
        </p:txBody>
      </p:sp>
      <p:grpSp>
        <p:nvGrpSpPr>
          <p:cNvPr id="71" name="Grafik 67">
            <a:extLst>
              <a:ext uri="{FF2B5EF4-FFF2-40B4-BE49-F238E27FC236}">
                <a16:creationId xmlns:a16="http://schemas.microsoft.com/office/drawing/2014/main" id="{5608C48E-6C9A-46A9-8B67-E4D4F75D6462}"/>
              </a:ext>
            </a:extLst>
          </p:cNvPr>
          <p:cNvGrpSpPr>
            <a:grpSpLocks noChangeAspect="1"/>
          </p:cNvGrpSpPr>
          <p:nvPr/>
        </p:nvGrpSpPr>
        <p:grpSpPr>
          <a:xfrm>
            <a:off x="2326088" y="2627022"/>
            <a:ext cx="269092" cy="360000"/>
            <a:chOff x="758926" y="3404852"/>
            <a:chExt cx="405595" cy="542620"/>
          </a:xfrm>
        </p:grpSpPr>
        <p:sp>
          <p:nvSpPr>
            <p:cNvPr id="72" name="Freeform: Shape 221">
              <a:extLst>
                <a:ext uri="{FF2B5EF4-FFF2-40B4-BE49-F238E27FC236}">
                  <a16:creationId xmlns:a16="http://schemas.microsoft.com/office/drawing/2014/main" id="{DFCDA42F-5E7C-41EF-81F6-4BE7F26C3752}"/>
                </a:ext>
              </a:extLst>
            </p:cNvPr>
            <p:cNvSpPr/>
            <p:nvPr/>
          </p:nvSpPr>
          <p:spPr>
            <a:xfrm>
              <a:off x="758926" y="3404852"/>
              <a:ext cx="405595" cy="542620"/>
            </a:xfrm>
            <a:custGeom>
              <a:avLst/>
              <a:gdLst>
                <a:gd name="connsiteX0" fmla="*/ 0 w 405594"/>
                <a:gd name="connsiteY0" fmla="*/ 0 h 542620"/>
                <a:gd name="connsiteX1" fmla="*/ 0 w 405594"/>
                <a:gd name="connsiteY1" fmla="*/ 543292 h 542620"/>
                <a:gd name="connsiteX2" fmla="*/ 405937 w 405594"/>
                <a:gd name="connsiteY2" fmla="*/ 543292 h 542620"/>
                <a:gd name="connsiteX3" fmla="*/ 405937 w 405594"/>
                <a:gd name="connsiteY3" fmla="*/ 0 h 542620"/>
                <a:gd name="connsiteX4" fmla="*/ 367981 w 405594"/>
                <a:gd name="connsiteY4" fmla="*/ 505349 h 542620"/>
                <a:gd name="connsiteX5" fmla="*/ 38011 w 405594"/>
                <a:gd name="connsiteY5" fmla="*/ 505349 h 542620"/>
                <a:gd name="connsiteX6" fmla="*/ 38011 w 405594"/>
                <a:gd name="connsiteY6" fmla="*/ 38093 h 542620"/>
                <a:gd name="connsiteX7" fmla="*/ 367981 w 405594"/>
                <a:gd name="connsiteY7" fmla="*/ 38093 h 54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94" h="542620">
                  <a:moveTo>
                    <a:pt x="0" y="0"/>
                  </a:moveTo>
                  <a:lnTo>
                    <a:pt x="0" y="543292"/>
                  </a:lnTo>
                  <a:lnTo>
                    <a:pt x="405937" y="543292"/>
                  </a:lnTo>
                  <a:lnTo>
                    <a:pt x="405937" y="0"/>
                  </a:lnTo>
                  <a:close/>
                  <a:moveTo>
                    <a:pt x="367981" y="505349"/>
                  </a:moveTo>
                  <a:lnTo>
                    <a:pt x="38011" y="505349"/>
                  </a:lnTo>
                  <a:lnTo>
                    <a:pt x="38011" y="38093"/>
                  </a:lnTo>
                  <a:lnTo>
                    <a:pt x="367981" y="38093"/>
                  </a:lnTo>
                  <a:close/>
                </a:path>
              </a:pathLst>
            </a:custGeom>
            <a:solidFill>
              <a:srgbClr val="3755D7"/>
            </a:solidFill>
            <a:ln w="1363" cap="flat">
              <a:noFill/>
              <a:prstDash val="solid"/>
              <a:miter/>
            </a:ln>
          </p:spPr>
          <p:txBody>
            <a:bodyPr rtlCol="0" anchor="ctr"/>
            <a:lstStyle/>
            <a:p>
              <a:endParaRPr lang="en-GB">
                <a:latin typeface="+mj-lt"/>
              </a:endParaRPr>
            </a:p>
          </p:txBody>
        </p:sp>
        <p:sp>
          <p:nvSpPr>
            <p:cNvPr id="73" name="Freeform: Shape 222">
              <a:extLst>
                <a:ext uri="{FF2B5EF4-FFF2-40B4-BE49-F238E27FC236}">
                  <a16:creationId xmlns:a16="http://schemas.microsoft.com/office/drawing/2014/main" id="{EA125C90-1BBE-4401-8C15-2ED123857E7B}"/>
                </a:ext>
              </a:extLst>
            </p:cNvPr>
            <p:cNvSpPr/>
            <p:nvPr/>
          </p:nvSpPr>
          <p:spPr>
            <a:xfrm>
              <a:off x="843745" y="3502716"/>
              <a:ext cx="119212" cy="36997"/>
            </a:xfrm>
            <a:custGeom>
              <a:avLst/>
              <a:gdLst>
                <a:gd name="connsiteX0" fmla="*/ 0 w 119212"/>
                <a:gd name="connsiteY0" fmla="*/ 0 h 36996"/>
                <a:gd name="connsiteX1" fmla="*/ 119678 w 119212"/>
                <a:gd name="connsiteY1" fmla="*/ 0 h 36996"/>
                <a:gd name="connsiteX2" fmla="*/ 119678 w 119212"/>
                <a:gd name="connsiteY2" fmla="*/ 38011 h 36996"/>
                <a:gd name="connsiteX3" fmla="*/ 0 w 119212"/>
                <a:gd name="connsiteY3" fmla="*/ 38011 h 36996"/>
              </a:gdLst>
              <a:ahLst/>
              <a:cxnLst>
                <a:cxn ang="0">
                  <a:pos x="connsiteX0" y="connsiteY0"/>
                </a:cxn>
                <a:cxn ang="0">
                  <a:pos x="connsiteX1" y="connsiteY1"/>
                </a:cxn>
                <a:cxn ang="0">
                  <a:pos x="connsiteX2" y="connsiteY2"/>
                </a:cxn>
                <a:cxn ang="0">
                  <a:pos x="connsiteX3" y="connsiteY3"/>
                </a:cxn>
              </a:cxnLst>
              <a:rect l="l" t="t" r="r" b="b"/>
              <a:pathLst>
                <a:path w="119212" h="36996">
                  <a:moveTo>
                    <a:pt x="0" y="0"/>
                  </a:moveTo>
                  <a:lnTo>
                    <a:pt x="119678" y="0"/>
                  </a:lnTo>
                  <a:lnTo>
                    <a:pt x="119678"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74" name="Freeform: Shape 223">
              <a:extLst>
                <a:ext uri="{FF2B5EF4-FFF2-40B4-BE49-F238E27FC236}">
                  <a16:creationId xmlns:a16="http://schemas.microsoft.com/office/drawing/2014/main" id="{D2C86031-ACA7-411F-8E4D-DC4522F212B1}"/>
                </a:ext>
              </a:extLst>
            </p:cNvPr>
            <p:cNvSpPr/>
            <p:nvPr/>
          </p:nvSpPr>
          <p:spPr>
            <a:xfrm>
              <a:off x="843745" y="3813681"/>
              <a:ext cx="119212" cy="36997"/>
            </a:xfrm>
            <a:custGeom>
              <a:avLst/>
              <a:gdLst>
                <a:gd name="connsiteX0" fmla="*/ 0 w 119212"/>
                <a:gd name="connsiteY0" fmla="*/ 0 h 36996"/>
                <a:gd name="connsiteX1" fmla="*/ 119678 w 119212"/>
                <a:gd name="connsiteY1" fmla="*/ 0 h 36996"/>
                <a:gd name="connsiteX2" fmla="*/ 119678 w 119212"/>
                <a:gd name="connsiteY2" fmla="*/ 38011 h 36996"/>
                <a:gd name="connsiteX3" fmla="*/ 0 w 119212"/>
                <a:gd name="connsiteY3" fmla="*/ 38011 h 36996"/>
              </a:gdLst>
              <a:ahLst/>
              <a:cxnLst>
                <a:cxn ang="0">
                  <a:pos x="connsiteX0" y="connsiteY0"/>
                </a:cxn>
                <a:cxn ang="0">
                  <a:pos x="connsiteX1" y="connsiteY1"/>
                </a:cxn>
                <a:cxn ang="0">
                  <a:pos x="connsiteX2" y="connsiteY2"/>
                </a:cxn>
                <a:cxn ang="0">
                  <a:pos x="connsiteX3" y="connsiteY3"/>
                </a:cxn>
              </a:cxnLst>
              <a:rect l="l" t="t" r="r" b="b"/>
              <a:pathLst>
                <a:path w="119212" h="36996">
                  <a:moveTo>
                    <a:pt x="0" y="0"/>
                  </a:moveTo>
                  <a:lnTo>
                    <a:pt x="119678" y="0"/>
                  </a:lnTo>
                  <a:lnTo>
                    <a:pt x="119678"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75" name="Freeform: Shape 224">
              <a:extLst>
                <a:ext uri="{FF2B5EF4-FFF2-40B4-BE49-F238E27FC236}">
                  <a16:creationId xmlns:a16="http://schemas.microsoft.com/office/drawing/2014/main" id="{688EB4B6-609F-40FF-88A9-573320499AA2}"/>
                </a:ext>
              </a:extLst>
            </p:cNvPr>
            <p:cNvSpPr/>
            <p:nvPr/>
          </p:nvSpPr>
          <p:spPr>
            <a:xfrm>
              <a:off x="843745" y="3579957"/>
              <a:ext cx="232943" cy="36997"/>
            </a:xfrm>
            <a:custGeom>
              <a:avLst/>
              <a:gdLst>
                <a:gd name="connsiteX0" fmla="*/ 0 w 232943"/>
                <a:gd name="connsiteY0" fmla="*/ 0 h 36996"/>
                <a:gd name="connsiteX1" fmla="*/ 233806 w 232943"/>
                <a:gd name="connsiteY1" fmla="*/ 0 h 36996"/>
                <a:gd name="connsiteX2" fmla="*/ 233806 w 232943"/>
                <a:gd name="connsiteY2" fmla="*/ 38011 h 36996"/>
                <a:gd name="connsiteX3" fmla="*/ 0 w 232943"/>
                <a:gd name="connsiteY3" fmla="*/ 38011 h 36996"/>
              </a:gdLst>
              <a:ahLst/>
              <a:cxnLst>
                <a:cxn ang="0">
                  <a:pos x="connsiteX0" y="connsiteY0"/>
                </a:cxn>
                <a:cxn ang="0">
                  <a:pos x="connsiteX1" y="connsiteY1"/>
                </a:cxn>
                <a:cxn ang="0">
                  <a:pos x="connsiteX2" y="connsiteY2"/>
                </a:cxn>
                <a:cxn ang="0">
                  <a:pos x="connsiteX3" y="connsiteY3"/>
                </a:cxn>
              </a:cxnLst>
              <a:rect l="l" t="t" r="r" b="b"/>
              <a:pathLst>
                <a:path w="232943" h="36996">
                  <a:moveTo>
                    <a:pt x="0" y="0"/>
                  </a:moveTo>
                  <a:lnTo>
                    <a:pt x="233806" y="0"/>
                  </a:lnTo>
                  <a:lnTo>
                    <a:pt x="233806"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76" name="Freeform: Shape 225">
              <a:extLst>
                <a:ext uri="{FF2B5EF4-FFF2-40B4-BE49-F238E27FC236}">
                  <a16:creationId xmlns:a16="http://schemas.microsoft.com/office/drawing/2014/main" id="{6B42DEF8-7736-4E0F-919C-73EED67871BD}"/>
                </a:ext>
              </a:extLst>
            </p:cNvPr>
            <p:cNvSpPr/>
            <p:nvPr/>
          </p:nvSpPr>
          <p:spPr>
            <a:xfrm>
              <a:off x="843745" y="3657719"/>
              <a:ext cx="232943" cy="36997"/>
            </a:xfrm>
            <a:custGeom>
              <a:avLst/>
              <a:gdLst>
                <a:gd name="connsiteX0" fmla="*/ 0 w 232943"/>
                <a:gd name="connsiteY0" fmla="*/ 0 h 36996"/>
                <a:gd name="connsiteX1" fmla="*/ 233806 w 232943"/>
                <a:gd name="connsiteY1" fmla="*/ 0 h 36996"/>
                <a:gd name="connsiteX2" fmla="*/ 233806 w 232943"/>
                <a:gd name="connsiteY2" fmla="*/ 38011 h 36996"/>
                <a:gd name="connsiteX3" fmla="*/ 0 w 232943"/>
                <a:gd name="connsiteY3" fmla="*/ 38011 h 36996"/>
              </a:gdLst>
              <a:ahLst/>
              <a:cxnLst>
                <a:cxn ang="0">
                  <a:pos x="connsiteX0" y="connsiteY0"/>
                </a:cxn>
                <a:cxn ang="0">
                  <a:pos x="connsiteX1" y="connsiteY1"/>
                </a:cxn>
                <a:cxn ang="0">
                  <a:pos x="connsiteX2" y="connsiteY2"/>
                </a:cxn>
                <a:cxn ang="0">
                  <a:pos x="connsiteX3" y="connsiteY3"/>
                </a:cxn>
              </a:cxnLst>
              <a:rect l="l" t="t" r="r" b="b"/>
              <a:pathLst>
                <a:path w="232943" h="36996">
                  <a:moveTo>
                    <a:pt x="0" y="0"/>
                  </a:moveTo>
                  <a:lnTo>
                    <a:pt x="233806" y="0"/>
                  </a:lnTo>
                  <a:lnTo>
                    <a:pt x="233806"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sp>
          <p:nvSpPr>
            <p:cNvPr id="77" name="Freeform: Shape 226">
              <a:extLst>
                <a:ext uri="{FF2B5EF4-FFF2-40B4-BE49-F238E27FC236}">
                  <a16:creationId xmlns:a16="http://schemas.microsoft.com/office/drawing/2014/main" id="{10A8E804-9B2A-44D0-9CB0-0E36936B69DA}"/>
                </a:ext>
              </a:extLst>
            </p:cNvPr>
            <p:cNvSpPr/>
            <p:nvPr/>
          </p:nvSpPr>
          <p:spPr>
            <a:xfrm>
              <a:off x="843745" y="3734878"/>
              <a:ext cx="232943" cy="36997"/>
            </a:xfrm>
            <a:custGeom>
              <a:avLst/>
              <a:gdLst>
                <a:gd name="connsiteX0" fmla="*/ 0 w 232943"/>
                <a:gd name="connsiteY0" fmla="*/ 0 h 36996"/>
                <a:gd name="connsiteX1" fmla="*/ 233806 w 232943"/>
                <a:gd name="connsiteY1" fmla="*/ 0 h 36996"/>
                <a:gd name="connsiteX2" fmla="*/ 233806 w 232943"/>
                <a:gd name="connsiteY2" fmla="*/ 38011 h 36996"/>
                <a:gd name="connsiteX3" fmla="*/ 0 w 232943"/>
                <a:gd name="connsiteY3" fmla="*/ 38011 h 36996"/>
              </a:gdLst>
              <a:ahLst/>
              <a:cxnLst>
                <a:cxn ang="0">
                  <a:pos x="connsiteX0" y="connsiteY0"/>
                </a:cxn>
                <a:cxn ang="0">
                  <a:pos x="connsiteX1" y="connsiteY1"/>
                </a:cxn>
                <a:cxn ang="0">
                  <a:pos x="connsiteX2" y="connsiteY2"/>
                </a:cxn>
                <a:cxn ang="0">
                  <a:pos x="connsiteX3" y="connsiteY3"/>
                </a:cxn>
              </a:cxnLst>
              <a:rect l="l" t="t" r="r" b="b"/>
              <a:pathLst>
                <a:path w="232943" h="36996">
                  <a:moveTo>
                    <a:pt x="0" y="0"/>
                  </a:moveTo>
                  <a:lnTo>
                    <a:pt x="233806" y="0"/>
                  </a:lnTo>
                  <a:lnTo>
                    <a:pt x="233806" y="38011"/>
                  </a:lnTo>
                  <a:lnTo>
                    <a:pt x="0" y="38011"/>
                  </a:ln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78" name="Grafik 93">
            <a:extLst>
              <a:ext uri="{FF2B5EF4-FFF2-40B4-BE49-F238E27FC236}">
                <a16:creationId xmlns:a16="http://schemas.microsoft.com/office/drawing/2014/main" id="{44CC9C8D-5F31-4D09-ACE3-7D38CC8565A2}"/>
              </a:ext>
            </a:extLst>
          </p:cNvPr>
          <p:cNvSpPr/>
          <p:nvPr/>
        </p:nvSpPr>
        <p:spPr>
          <a:xfrm>
            <a:off x="2973769" y="2711941"/>
            <a:ext cx="383398" cy="246708"/>
          </a:xfrm>
          <a:custGeom>
            <a:avLst/>
            <a:gdLst>
              <a:gd name="connsiteX0" fmla="*/ 0 w 506994"/>
              <a:gd name="connsiteY0" fmla="*/ 0 h 349415"/>
              <a:gd name="connsiteX1" fmla="*/ 0 w 506994"/>
              <a:gd name="connsiteY1" fmla="*/ 350100 h 349415"/>
              <a:gd name="connsiteX2" fmla="*/ 507501 w 506994"/>
              <a:gd name="connsiteY2" fmla="*/ 350100 h 349415"/>
              <a:gd name="connsiteX3" fmla="*/ 507501 w 506994"/>
              <a:gd name="connsiteY3" fmla="*/ 0 h 349415"/>
              <a:gd name="connsiteX4" fmla="*/ 424779 w 506994"/>
              <a:gd name="connsiteY4" fmla="*/ 38367 h 349415"/>
              <a:gd name="connsiteX5" fmla="*/ 253716 w 506994"/>
              <a:gd name="connsiteY5" fmla="*/ 151975 h 349415"/>
              <a:gd name="connsiteX6" fmla="*/ 82709 w 506994"/>
              <a:gd name="connsiteY6" fmla="*/ 38367 h 349415"/>
              <a:gd name="connsiteX7" fmla="*/ 38367 w 506994"/>
              <a:gd name="connsiteY7" fmla="*/ 311733 h 349415"/>
              <a:gd name="connsiteX8" fmla="*/ 38367 w 506994"/>
              <a:gd name="connsiteY8" fmla="*/ 54920 h 349415"/>
              <a:gd name="connsiteX9" fmla="*/ 253716 w 506994"/>
              <a:gd name="connsiteY9" fmla="*/ 198043 h 349415"/>
              <a:gd name="connsiteX10" fmla="*/ 469134 w 506994"/>
              <a:gd name="connsiteY10" fmla="*/ 54920 h 349415"/>
              <a:gd name="connsiteX11" fmla="*/ 469134 w 506994"/>
              <a:gd name="connsiteY11" fmla="*/ 311692 h 349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6994" h="349415">
                <a:moveTo>
                  <a:pt x="0" y="0"/>
                </a:moveTo>
                <a:lnTo>
                  <a:pt x="0" y="350100"/>
                </a:lnTo>
                <a:lnTo>
                  <a:pt x="507501" y="350100"/>
                </a:lnTo>
                <a:lnTo>
                  <a:pt x="507501" y="0"/>
                </a:lnTo>
                <a:close/>
                <a:moveTo>
                  <a:pt x="424779" y="38367"/>
                </a:moveTo>
                <a:lnTo>
                  <a:pt x="253716" y="151975"/>
                </a:lnTo>
                <a:lnTo>
                  <a:pt x="82709" y="38367"/>
                </a:lnTo>
                <a:close/>
                <a:moveTo>
                  <a:pt x="38367" y="311733"/>
                </a:moveTo>
                <a:lnTo>
                  <a:pt x="38367" y="54920"/>
                </a:lnTo>
                <a:lnTo>
                  <a:pt x="253716" y="198043"/>
                </a:lnTo>
                <a:lnTo>
                  <a:pt x="469134" y="54920"/>
                </a:lnTo>
                <a:lnTo>
                  <a:pt x="469134" y="311692"/>
                </a:lnTo>
                <a:close/>
              </a:path>
            </a:pathLst>
          </a:custGeom>
          <a:solidFill>
            <a:srgbClr val="3755D7"/>
          </a:solidFill>
          <a:ln w="1363" cap="flat">
            <a:noFill/>
            <a:prstDash val="solid"/>
            <a:miter/>
          </a:ln>
        </p:spPr>
        <p:txBody>
          <a:bodyPr rtlCol="0" anchor="ctr"/>
          <a:lstStyle/>
          <a:p>
            <a:endParaRPr lang="en-GB">
              <a:latin typeface="+mj-lt"/>
            </a:endParaRPr>
          </a:p>
        </p:txBody>
      </p:sp>
      <p:sp>
        <p:nvSpPr>
          <p:cNvPr id="79" name="Tekstfelt 78">
            <a:extLst>
              <a:ext uri="{FF2B5EF4-FFF2-40B4-BE49-F238E27FC236}">
                <a16:creationId xmlns:a16="http://schemas.microsoft.com/office/drawing/2014/main" id="{AF8B587F-9708-4078-9945-6C7DE330CB9E}"/>
              </a:ext>
            </a:extLst>
          </p:cNvPr>
          <p:cNvSpPr txBox="1"/>
          <p:nvPr/>
        </p:nvSpPr>
        <p:spPr bwMode="gray">
          <a:xfrm>
            <a:off x="2096395" y="3065113"/>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Aftale</a:t>
            </a:r>
          </a:p>
        </p:txBody>
      </p:sp>
      <p:sp>
        <p:nvSpPr>
          <p:cNvPr id="80" name="Pil: vinkel 79">
            <a:extLst>
              <a:ext uri="{FF2B5EF4-FFF2-40B4-BE49-F238E27FC236}">
                <a16:creationId xmlns:a16="http://schemas.microsoft.com/office/drawing/2014/main" id="{B6474DD9-F86B-45F5-8068-9455201B0B32}"/>
              </a:ext>
            </a:extLst>
          </p:cNvPr>
          <p:cNvSpPr/>
          <p:nvPr/>
        </p:nvSpPr>
        <p:spPr>
          <a:xfrm>
            <a:off x="3201825" y="2476121"/>
            <a:ext cx="2677267" cy="962244"/>
          </a:xfrm>
          <a:prstGeom prst="chevron">
            <a:avLst/>
          </a:prstGeom>
          <a:solidFill>
            <a:schemeClr val="accent6"/>
          </a:solidFill>
          <a:ln>
            <a:solidFill>
              <a:schemeClr val="tx1"/>
            </a:solid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l">
              <a:lnSpc>
                <a:spcPct val="90000"/>
              </a:lnSpc>
            </a:pPr>
            <a:endParaRPr lang="da-DK" sz="1400" noProof="0" dirty="0" err="1">
              <a:solidFill>
                <a:schemeClr val="tx1"/>
              </a:solidFill>
            </a:endParaRPr>
          </a:p>
        </p:txBody>
      </p:sp>
      <p:sp>
        <p:nvSpPr>
          <p:cNvPr id="81" name="Tekstfelt 80">
            <a:extLst>
              <a:ext uri="{FF2B5EF4-FFF2-40B4-BE49-F238E27FC236}">
                <a16:creationId xmlns:a16="http://schemas.microsoft.com/office/drawing/2014/main" id="{EC8670BB-BC05-4944-8385-278210D24CE5}"/>
              </a:ext>
            </a:extLst>
          </p:cNvPr>
          <p:cNvSpPr txBox="1"/>
          <p:nvPr/>
        </p:nvSpPr>
        <p:spPr bwMode="gray">
          <a:xfrm>
            <a:off x="3865190" y="3093341"/>
            <a:ext cx="788944" cy="24622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Grund/Ejendom besigtigelse</a:t>
            </a:r>
          </a:p>
        </p:txBody>
      </p:sp>
      <p:sp>
        <p:nvSpPr>
          <p:cNvPr id="82" name="Tekstfelt 81">
            <a:extLst>
              <a:ext uri="{FF2B5EF4-FFF2-40B4-BE49-F238E27FC236}">
                <a16:creationId xmlns:a16="http://schemas.microsoft.com/office/drawing/2014/main" id="{21B2FB23-0A7D-4B7A-9560-FA2DEC7237A1}"/>
              </a:ext>
            </a:extLst>
          </p:cNvPr>
          <p:cNvSpPr txBox="1"/>
          <p:nvPr/>
        </p:nvSpPr>
        <p:spPr bwMode="gray">
          <a:xfrm>
            <a:off x="4757938" y="3076512"/>
            <a:ext cx="749280"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Grav område</a:t>
            </a:r>
          </a:p>
        </p:txBody>
      </p:sp>
      <p:sp>
        <p:nvSpPr>
          <p:cNvPr id="83" name="Grafik 83">
            <a:extLst>
              <a:ext uri="{FF2B5EF4-FFF2-40B4-BE49-F238E27FC236}">
                <a16:creationId xmlns:a16="http://schemas.microsoft.com/office/drawing/2014/main" id="{9317025D-50EE-4449-82B9-B54576390EFD}"/>
              </a:ext>
            </a:extLst>
          </p:cNvPr>
          <p:cNvSpPr/>
          <p:nvPr/>
        </p:nvSpPr>
        <p:spPr>
          <a:xfrm>
            <a:off x="4066471" y="2608409"/>
            <a:ext cx="309940" cy="372754"/>
          </a:xfrm>
          <a:custGeom>
            <a:avLst/>
            <a:gdLst>
              <a:gd name="connsiteX0" fmla="*/ 543786 w 542620"/>
              <a:gd name="connsiteY0" fmla="*/ 621465 h 620725"/>
              <a:gd name="connsiteX1" fmla="*/ 330163 w 542620"/>
              <a:gd name="connsiteY1" fmla="*/ 621465 h 620725"/>
              <a:gd name="connsiteX2" fmla="*/ 330163 w 542620"/>
              <a:gd name="connsiteY2" fmla="*/ 388412 h 620725"/>
              <a:gd name="connsiteX3" fmla="*/ 213691 w 542620"/>
              <a:gd name="connsiteY3" fmla="*/ 388412 h 620725"/>
              <a:gd name="connsiteX4" fmla="*/ 213691 w 542620"/>
              <a:gd name="connsiteY4" fmla="*/ 621465 h 620725"/>
              <a:gd name="connsiteX5" fmla="*/ 0 w 542620"/>
              <a:gd name="connsiteY5" fmla="*/ 621465 h 620725"/>
              <a:gd name="connsiteX6" fmla="*/ 0 w 542620"/>
              <a:gd name="connsiteY6" fmla="*/ 233053 h 620725"/>
              <a:gd name="connsiteX7" fmla="*/ 271900 w 542620"/>
              <a:gd name="connsiteY7" fmla="*/ 0 h 620725"/>
              <a:gd name="connsiteX8" fmla="*/ 543786 w 542620"/>
              <a:gd name="connsiteY8" fmla="*/ 233053 h 620725"/>
              <a:gd name="connsiteX9" fmla="*/ 369023 w 542620"/>
              <a:gd name="connsiteY9" fmla="*/ 582632 h 620725"/>
              <a:gd name="connsiteX10" fmla="*/ 504953 w 542620"/>
              <a:gd name="connsiteY10" fmla="*/ 582632 h 620725"/>
              <a:gd name="connsiteX11" fmla="*/ 504953 w 542620"/>
              <a:gd name="connsiteY11" fmla="*/ 250907 h 620725"/>
              <a:gd name="connsiteX12" fmla="*/ 271900 w 542620"/>
              <a:gd name="connsiteY12" fmla="*/ 51152 h 620725"/>
              <a:gd name="connsiteX13" fmla="*/ 38792 w 542620"/>
              <a:gd name="connsiteY13" fmla="*/ 250921 h 620725"/>
              <a:gd name="connsiteX14" fmla="*/ 38792 w 542620"/>
              <a:gd name="connsiteY14" fmla="*/ 582632 h 620725"/>
              <a:gd name="connsiteX15" fmla="*/ 174735 w 542620"/>
              <a:gd name="connsiteY15" fmla="*/ 582632 h 620725"/>
              <a:gd name="connsiteX16" fmla="*/ 174735 w 542620"/>
              <a:gd name="connsiteY16" fmla="*/ 349579 h 620725"/>
              <a:gd name="connsiteX17" fmla="*/ 369023 w 542620"/>
              <a:gd name="connsiteY17" fmla="*/ 349579 h 62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2620" h="620725">
                <a:moveTo>
                  <a:pt x="543786" y="621465"/>
                </a:moveTo>
                <a:lnTo>
                  <a:pt x="330163" y="621465"/>
                </a:lnTo>
                <a:lnTo>
                  <a:pt x="330163" y="388412"/>
                </a:lnTo>
                <a:lnTo>
                  <a:pt x="213691" y="388412"/>
                </a:lnTo>
                <a:lnTo>
                  <a:pt x="213691" y="621465"/>
                </a:lnTo>
                <a:lnTo>
                  <a:pt x="0" y="621465"/>
                </a:lnTo>
                <a:lnTo>
                  <a:pt x="0" y="233053"/>
                </a:lnTo>
                <a:lnTo>
                  <a:pt x="271900" y="0"/>
                </a:lnTo>
                <a:lnTo>
                  <a:pt x="543786" y="233053"/>
                </a:lnTo>
                <a:close/>
                <a:moveTo>
                  <a:pt x="369023" y="582632"/>
                </a:moveTo>
                <a:lnTo>
                  <a:pt x="504953" y="582632"/>
                </a:lnTo>
                <a:lnTo>
                  <a:pt x="504953" y="250907"/>
                </a:lnTo>
                <a:lnTo>
                  <a:pt x="271900" y="51152"/>
                </a:lnTo>
                <a:lnTo>
                  <a:pt x="38792" y="250921"/>
                </a:lnTo>
                <a:lnTo>
                  <a:pt x="38792" y="582632"/>
                </a:lnTo>
                <a:lnTo>
                  <a:pt x="174735" y="582632"/>
                </a:lnTo>
                <a:lnTo>
                  <a:pt x="174735" y="349579"/>
                </a:lnTo>
                <a:lnTo>
                  <a:pt x="369023" y="349579"/>
                </a:lnTo>
                <a:close/>
              </a:path>
            </a:pathLst>
          </a:custGeom>
          <a:solidFill>
            <a:srgbClr val="3755D7"/>
          </a:solidFill>
          <a:ln w="1363" cap="flat">
            <a:noFill/>
            <a:prstDash val="solid"/>
            <a:miter/>
          </a:ln>
        </p:spPr>
        <p:txBody>
          <a:bodyPr rtlCol="0" anchor="ctr"/>
          <a:lstStyle/>
          <a:p>
            <a:endParaRPr lang="en-GB">
              <a:latin typeface="+mj-lt"/>
            </a:endParaRPr>
          </a:p>
        </p:txBody>
      </p:sp>
      <p:grpSp>
        <p:nvGrpSpPr>
          <p:cNvPr id="84" name="Grafik 75">
            <a:extLst>
              <a:ext uri="{FF2B5EF4-FFF2-40B4-BE49-F238E27FC236}">
                <a16:creationId xmlns:a16="http://schemas.microsoft.com/office/drawing/2014/main" id="{81A7B74E-6BBD-431F-9857-74B84D646655}"/>
              </a:ext>
            </a:extLst>
          </p:cNvPr>
          <p:cNvGrpSpPr/>
          <p:nvPr/>
        </p:nvGrpSpPr>
        <p:grpSpPr>
          <a:xfrm>
            <a:off x="4840064" y="2661773"/>
            <a:ext cx="367360" cy="315118"/>
            <a:chOff x="3313357" y="2567933"/>
            <a:chExt cx="499339" cy="428329"/>
          </a:xfrm>
        </p:grpSpPr>
        <p:sp>
          <p:nvSpPr>
            <p:cNvPr id="85" name="Freeform: Shape 235">
              <a:extLst>
                <a:ext uri="{FF2B5EF4-FFF2-40B4-BE49-F238E27FC236}">
                  <a16:creationId xmlns:a16="http://schemas.microsoft.com/office/drawing/2014/main" id="{47561E1C-9D62-41C9-ACB5-4E835E71211C}"/>
                </a:ext>
              </a:extLst>
            </p:cNvPr>
            <p:cNvSpPr/>
            <p:nvPr/>
          </p:nvSpPr>
          <p:spPr>
            <a:xfrm>
              <a:off x="3337434" y="2567933"/>
              <a:ext cx="475262" cy="320715"/>
            </a:xfrm>
            <a:custGeom>
              <a:avLst/>
              <a:gdLst>
                <a:gd name="connsiteX0" fmla="*/ 321424 w 475262"/>
                <a:gd name="connsiteY0" fmla="*/ 174546 h 320714"/>
                <a:gd name="connsiteX1" fmla="*/ 396187 w 475262"/>
                <a:gd name="connsiteY1" fmla="*/ 35337 h 320714"/>
                <a:gd name="connsiteX2" fmla="*/ 439612 w 475262"/>
                <a:gd name="connsiteY2" fmla="*/ 35337 h 320714"/>
                <a:gd name="connsiteX3" fmla="*/ 439612 w 475262"/>
                <a:gd name="connsiteY3" fmla="*/ 185236 h 320714"/>
                <a:gd name="connsiteX4" fmla="*/ 360397 w 475262"/>
                <a:gd name="connsiteY4" fmla="*/ 209057 h 320714"/>
                <a:gd name="connsiteX5" fmla="*/ 361803 w 475262"/>
                <a:gd name="connsiteY5" fmla="*/ 271864 h 320714"/>
                <a:gd name="connsiteX6" fmla="*/ 411688 w 475262"/>
                <a:gd name="connsiteY6" fmla="*/ 321528 h 320714"/>
                <a:gd name="connsiteX7" fmla="*/ 411805 w 475262"/>
                <a:gd name="connsiteY7" fmla="*/ 321528 h 320714"/>
                <a:gd name="connsiteX8" fmla="*/ 475878 w 475262"/>
                <a:gd name="connsiteY8" fmla="*/ 320715 h 320714"/>
                <a:gd name="connsiteX9" fmla="*/ 474913 w 475262"/>
                <a:gd name="connsiteY9" fmla="*/ 0 h 320714"/>
                <a:gd name="connsiteX10" fmla="*/ 375062 w 475262"/>
                <a:gd name="connsiteY10" fmla="*/ 0 h 320714"/>
                <a:gd name="connsiteX11" fmla="*/ 319123 w 475262"/>
                <a:gd name="connsiteY11" fmla="*/ 104209 h 320714"/>
                <a:gd name="connsiteX12" fmla="*/ 250192 w 475262"/>
                <a:gd name="connsiteY12" fmla="*/ 46399 h 320714"/>
                <a:gd name="connsiteX13" fmla="*/ 161043 w 475262"/>
                <a:gd name="connsiteY13" fmla="*/ 47561 h 320714"/>
                <a:gd name="connsiteX14" fmla="*/ 161043 w 475262"/>
                <a:gd name="connsiteY14" fmla="*/ 189663 h 320714"/>
                <a:gd name="connsiteX15" fmla="*/ 49618 w 475262"/>
                <a:gd name="connsiteY15" fmla="*/ 190151 h 320714"/>
                <a:gd name="connsiteX16" fmla="*/ 0 w 475262"/>
                <a:gd name="connsiteY16" fmla="*/ 239769 h 320714"/>
                <a:gd name="connsiteX17" fmla="*/ 848 w 475262"/>
                <a:gd name="connsiteY17" fmla="*/ 296022 h 320714"/>
                <a:gd name="connsiteX18" fmla="*/ 321865 w 475262"/>
                <a:gd name="connsiteY18" fmla="*/ 296022 h 320714"/>
                <a:gd name="connsiteX19" fmla="*/ 286552 w 475262"/>
                <a:gd name="connsiteY19" fmla="*/ 260697 h 320714"/>
                <a:gd name="connsiteX20" fmla="*/ 35627 w 475262"/>
                <a:gd name="connsiteY20" fmla="*/ 260697 h 320714"/>
                <a:gd name="connsiteX21" fmla="*/ 35313 w 475262"/>
                <a:gd name="connsiteY21" fmla="*/ 239653 h 320714"/>
                <a:gd name="connsiteX22" fmla="*/ 49688 w 475262"/>
                <a:gd name="connsiteY22" fmla="*/ 225465 h 320714"/>
                <a:gd name="connsiteX23" fmla="*/ 286552 w 475262"/>
                <a:gd name="connsiteY23" fmla="*/ 224431 h 320714"/>
                <a:gd name="connsiteX24" fmla="*/ 196356 w 475262"/>
                <a:gd name="connsiteY24" fmla="*/ 82410 h 320714"/>
                <a:gd name="connsiteX25" fmla="*/ 250309 w 475262"/>
                <a:gd name="connsiteY25" fmla="*/ 81678 h 320714"/>
                <a:gd name="connsiteX26" fmla="*/ 284867 w 475262"/>
                <a:gd name="connsiteY26" fmla="*/ 116375 h 320714"/>
                <a:gd name="connsiteX27" fmla="*/ 286308 w 475262"/>
                <a:gd name="connsiteY27" fmla="*/ 185387 h 320714"/>
                <a:gd name="connsiteX28" fmla="*/ 196356 w 475262"/>
                <a:gd name="connsiteY28" fmla="*/ 185387 h 320714"/>
                <a:gd name="connsiteX29" fmla="*/ 411607 w 475262"/>
                <a:gd name="connsiteY29" fmla="*/ 286215 h 320714"/>
                <a:gd name="connsiteX30" fmla="*/ 397128 w 475262"/>
                <a:gd name="connsiteY30" fmla="*/ 271643 h 320714"/>
                <a:gd name="connsiteX31" fmla="*/ 396315 w 475262"/>
                <a:gd name="connsiteY31" fmla="*/ 235121 h 320714"/>
                <a:gd name="connsiteX32" fmla="*/ 439612 w 475262"/>
                <a:gd name="connsiteY32" fmla="*/ 222095 h 320714"/>
                <a:gd name="connsiteX33" fmla="*/ 439612 w 475262"/>
                <a:gd name="connsiteY33" fmla="*/ 241442 h 320714"/>
                <a:gd name="connsiteX34" fmla="*/ 440576 w 475262"/>
                <a:gd name="connsiteY34" fmla="*/ 241442 h 320714"/>
                <a:gd name="connsiteX35" fmla="*/ 440576 w 475262"/>
                <a:gd name="connsiteY35" fmla="*/ 285843 h 32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5262" h="320714">
                  <a:moveTo>
                    <a:pt x="321424" y="174546"/>
                  </a:moveTo>
                  <a:lnTo>
                    <a:pt x="396187" y="35337"/>
                  </a:lnTo>
                  <a:lnTo>
                    <a:pt x="439612" y="35337"/>
                  </a:lnTo>
                  <a:lnTo>
                    <a:pt x="439612" y="185236"/>
                  </a:lnTo>
                  <a:lnTo>
                    <a:pt x="360397" y="209057"/>
                  </a:lnTo>
                  <a:lnTo>
                    <a:pt x="361803" y="271864"/>
                  </a:lnTo>
                  <a:cubicBezTo>
                    <a:pt x="361970" y="299309"/>
                    <a:pt x="384242" y="321484"/>
                    <a:pt x="411688" y="321528"/>
                  </a:cubicBezTo>
                  <a:lnTo>
                    <a:pt x="411805" y="321528"/>
                  </a:lnTo>
                  <a:lnTo>
                    <a:pt x="475878" y="320715"/>
                  </a:lnTo>
                  <a:lnTo>
                    <a:pt x="474913" y="0"/>
                  </a:lnTo>
                  <a:lnTo>
                    <a:pt x="375062" y="0"/>
                  </a:lnTo>
                  <a:lnTo>
                    <a:pt x="319123" y="104209"/>
                  </a:lnTo>
                  <a:cubicBezTo>
                    <a:pt x="313162" y="70798"/>
                    <a:pt x="284131" y="46450"/>
                    <a:pt x="250192" y="46399"/>
                  </a:cubicBezTo>
                  <a:lnTo>
                    <a:pt x="161043" y="47561"/>
                  </a:lnTo>
                  <a:lnTo>
                    <a:pt x="161043" y="189663"/>
                  </a:lnTo>
                  <a:lnTo>
                    <a:pt x="49618" y="190151"/>
                  </a:lnTo>
                  <a:cubicBezTo>
                    <a:pt x="22225" y="190177"/>
                    <a:pt x="26" y="212377"/>
                    <a:pt x="0" y="239769"/>
                  </a:cubicBezTo>
                  <a:lnTo>
                    <a:pt x="848" y="296022"/>
                  </a:lnTo>
                  <a:lnTo>
                    <a:pt x="321865" y="296022"/>
                  </a:lnTo>
                  <a:moveTo>
                    <a:pt x="286552" y="260697"/>
                  </a:moveTo>
                  <a:lnTo>
                    <a:pt x="35627" y="260697"/>
                  </a:lnTo>
                  <a:lnTo>
                    <a:pt x="35313" y="239653"/>
                  </a:lnTo>
                  <a:cubicBezTo>
                    <a:pt x="35390" y="231777"/>
                    <a:pt x="41811" y="225439"/>
                    <a:pt x="49688" y="225465"/>
                  </a:cubicBezTo>
                  <a:lnTo>
                    <a:pt x="286552" y="224431"/>
                  </a:lnTo>
                  <a:close/>
                  <a:moveTo>
                    <a:pt x="196356" y="82410"/>
                  </a:moveTo>
                  <a:lnTo>
                    <a:pt x="250309" y="81678"/>
                  </a:lnTo>
                  <a:cubicBezTo>
                    <a:pt x="269410" y="81773"/>
                    <a:pt x="284848" y="97274"/>
                    <a:pt x="284867" y="116375"/>
                  </a:cubicBezTo>
                  <a:lnTo>
                    <a:pt x="286308" y="185387"/>
                  </a:lnTo>
                  <a:lnTo>
                    <a:pt x="196356" y="185387"/>
                  </a:lnTo>
                  <a:close/>
                  <a:moveTo>
                    <a:pt x="411607" y="286215"/>
                  </a:moveTo>
                  <a:cubicBezTo>
                    <a:pt x="403601" y="286151"/>
                    <a:pt x="397141" y="279649"/>
                    <a:pt x="397128" y="271643"/>
                  </a:cubicBezTo>
                  <a:lnTo>
                    <a:pt x="396315" y="235121"/>
                  </a:lnTo>
                  <a:lnTo>
                    <a:pt x="439612" y="222095"/>
                  </a:lnTo>
                  <a:lnTo>
                    <a:pt x="439612" y="241442"/>
                  </a:lnTo>
                  <a:lnTo>
                    <a:pt x="440576" y="241442"/>
                  </a:lnTo>
                  <a:lnTo>
                    <a:pt x="440576" y="285843"/>
                  </a:lnTo>
                  <a:close/>
                </a:path>
              </a:pathLst>
            </a:custGeom>
            <a:solidFill>
              <a:srgbClr val="3755D7"/>
            </a:solidFill>
            <a:ln w="1158" cap="flat">
              <a:noFill/>
              <a:prstDash val="solid"/>
              <a:miter/>
            </a:ln>
          </p:spPr>
          <p:txBody>
            <a:bodyPr rtlCol="0" anchor="ctr"/>
            <a:lstStyle/>
            <a:p>
              <a:endParaRPr lang="en-GB">
                <a:latin typeface="+mj-lt"/>
              </a:endParaRPr>
            </a:p>
          </p:txBody>
        </p:sp>
        <p:sp>
          <p:nvSpPr>
            <p:cNvPr id="86" name="Freeform: Shape 236">
              <a:extLst>
                <a:ext uri="{FF2B5EF4-FFF2-40B4-BE49-F238E27FC236}">
                  <a16:creationId xmlns:a16="http://schemas.microsoft.com/office/drawing/2014/main" id="{77AB5704-B210-417F-925B-7C38A54D5CB3}"/>
                </a:ext>
              </a:extLst>
            </p:cNvPr>
            <p:cNvSpPr/>
            <p:nvPr/>
          </p:nvSpPr>
          <p:spPr>
            <a:xfrm>
              <a:off x="3313357" y="2877737"/>
              <a:ext cx="369519" cy="118525"/>
            </a:xfrm>
            <a:custGeom>
              <a:avLst/>
              <a:gdLst>
                <a:gd name="connsiteX0" fmla="*/ 310106 w 369519"/>
                <a:gd name="connsiteY0" fmla="*/ 0 h 118525"/>
                <a:gd name="connsiteX1" fmla="*/ 59611 w 369519"/>
                <a:gd name="connsiteY1" fmla="*/ 0 h 118525"/>
                <a:gd name="connsiteX2" fmla="*/ 0 w 369519"/>
                <a:gd name="connsiteY2" fmla="*/ 59611 h 118525"/>
                <a:gd name="connsiteX3" fmla="*/ 59611 w 369519"/>
                <a:gd name="connsiteY3" fmla="*/ 119222 h 118525"/>
                <a:gd name="connsiteX4" fmla="*/ 310106 w 369519"/>
                <a:gd name="connsiteY4" fmla="*/ 119222 h 118525"/>
                <a:gd name="connsiteX5" fmla="*/ 369717 w 369519"/>
                <a:gd name="connsiteY5" fmla="*/ 59611 h 118525"/>
                <a:gd name="connsiteX6" fmla="*/ 310106 w 369519"/>
                <a:gd name="connsiteY6" fmla="*/ 0 h 118525"/>
                <a:gd name="connsiteX7" fmla="*/ 310106 w 369519"/>
                <a:gd name="connsiteY7" fmla="*/ 83909 h 118525"/>
                <a:gd name="connsiteX8" fmla="*/ 59611 w 369519"/>
                <a:gd name="connsiteY8" fmla="*/ 83909 h 118525"/>
                <a:gd name="connsiteX9" fmla="*/ 35313 w 369519"/>
                <a:gd name="connsiteY9" fmla="*/ 59611 h 118525"/>
                <a:gd name="connsiteX10" fmla="*/ 59611 w 369519"/>
                <a:gd name="connsiteY10" fmla="*/ 35313 h 118525"/>
                <a:gd name="connsiteX11" fmla="*/ 310106 w 369519"/>
                <a:gd name="connsiteY11" fmla="*/ 35313 h 118525"/>
                <a:gd name="connsiteX12" fmla="*/ 334403 w 369519"/>
                <a:gd name="connsiteY12" fmla="*/ 59611 h 118525"/>
                <a:gd name="connsiteX13" fmla="*/ 310106 w 369519"/>
                <a:gd name="connsiteY13" fmla="*/ 83909 h 11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9519" h="118525">
                  <a:moveTo>
                    <a:pt x="310106" y="0"/>
                  </a:moveTo>
                  <a:lnTo>
                    <a:pt x="59611" y="0"/>
                  </a:lnTo>
                  <a:cubicBezTo>
                    <a:pt x="26689" y="0"/>
                    <a:pt x="0" y="26689"/>
                    <a:pt x="0" y="59611"/>
                  </a:cubicBezTo>
                  <a:cubicBezTo>
                    <a:pt x="0" y="92533"/>
                    <a:pt x="26689" y="119222"/>
                    <a:pt x="59611" y="119222"/>
                  </a:cubicBezTo>
                  <a:lnTo>
                    <a:pt x="310106" y="119222"/>
                  </a:lnTo>
                  <a:cubicBezTo>
                    <a:pt x="343028" y="119222"/>
                    <a:pt x="369717" y="92533"/>
                    <a:pt x="369717" y="59611"/>
                  </a:cubicBezTo>
                  <a:cubicBezTo>
                    <a:pt x="369717" y="26689"/>
                    <a:pt x="343028" y="0"/>
                    <a:pt x="310106" y="0"/>
                  </a:cubicBezTo>
                  <a:close/>
                  <a:moveTo>
                    <a:pt x="310106" y="83909"/>
                  </a:moveTo>
                  <a:lnTo>
                    <a:pt x="59611" y="83909"/>
                  </a:lnTo>
                  <a:cubicBezTo>
                    <a:pt x="46192" y="83909"/>
                    <a:pt x="35313" y="73030"/>
                    <a:pt x="35313" y="59611"/>
                  </a:cubicBezTo>
                  <a:cubicBezTo>
                    <a:pt x="35313" y="46192"/>
                    <a:pt x="46192" y="35313"/>
                    <a:pt x="59611" y="35313"/>
                  </a:cubicBezTo>
                  <a:lnTo>
                    <a:pt x="310106" y="35313"/>
                  </a:lnTo>
                  <a:cubicBezTo>
                    <a:pt x="323524" y="35313"/>
                    <a:pt x="334403" y="46192"/>
                    <a:pt x="334403" y="59611"/>
                  </a:cubicBezTo>
                  <a:cubicBezTo>
                    <a:pt x="334403" y="73030"/>
                    <a:pt x="323524" y="83909"/>
                    <a:pt x="310106" y="83909"/>
                  </a:cubicBezTo>
                  <a:close/>
                </a:path>
              </a:pathLst>
            </a:custGeom>
            <a:solidFill>
              <a:srgbClr val="3755D7"/>
            </a:solidFill>
            <a:ln w="1158" cap="flat">
              <a:noFill/>
              <a:prstDash val="solid"/>
              <a:miter/>
            </a:ln>
          </p:spPr>
          <p:txBody>
            <a:bodyPr rtlCol="0" anchor="ctr"/>
            <a:lstStyle/>
            <a:p>
              <a:endParaRPr lang="en-GB">
                <a:latin typeface="+mj-lt"/>
              </a:endParaRPr>
            </a:p>
          </p:txBody>
        </p:sp>
      </p:grpSp>
      <p:sp>
        <p:nvSpPr>
          <p:cNvPr id="87" name="Pil: vinkel 86">
            <a:extLst>
              <a:ext uri="{FF2B5EF4-FFF2-40B4-BE49-F238E27FC236}">
                <a16:creationId xmlns:a16="http://schemas.microsoft.com/office/drawing/2014/main" id="{E922AFB5-F9F2-4ED9-8483-A945636E3689}"/>
              </a:ext>
            </a:extLst>
          </p:cNvPr>
          <p:cNvSpPr/>
          <p:nvPr/>
        </p:nvSpPr>
        <p:spPr>
          <a:xfrm>
            <a:off x="7204339" y="2475061"/>
            <a:ext cx="2821834" cy="978548"/>
          </a:xfrm>
          <a:prstGeom prst="chevron">
            <a:avLst/>
          </a:prstGeom>
          <a:solidFill>
            <a:schemeClr val="accent4"/>
          </a:solidFill>
          <a:ln>
            <a:solidFill>
              <a:schemeClr val="tx1"/>
            </a:solid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l">
              <a:lnSpc>
                <a:spcPct val="90000"/>
              </a:lnSpc>
            </a:pPr>
            <a:endParaRPr lang="da-DK" sz="1400" noProof="0" dirty="0" err="1">
              <a:solidFill>
                <a:schemeClr val="tx1"/>
              </a:solidFill>
            </a:endParaRPr>
          </a:p>
        </p:txBody>
      </p:sp>
      <p:sp>
        <p:nvSpPr>
          <p:cNvPr id="88" name="Tekstfelt 87">
            <a:extLst>
              <a:ext uri="{FF2B5EF4-FFF2-40B4-BE49-F238E27FC236}">
                <a16:creationId xmlns:a16="http://schemas.microsoft.com/office/drawing/2014/main" id="{FD3FF45D-2CAA-4B16-9F4B-B5F7D458A66F}"/>
              </a:ext>
            </a:extLst>
          </p:cNvPr>
          <p:cNvSpPr txBox="1"/>
          <p:nvPr/>
        </p:nvSpPr>
        <p:spPr bwMode="gray">
          <a:xfrm>
            <a:off x="8050838" y="3029643"/>
            <a:ext cx="772883" cy="24622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Aktivering</a:t>
            </a:r>
          </a:p>
          <a:p>
            <a:pPr algn="ctr"/>
            <a:r>
              <a:rPr lang="da-DK" sz="800" b="1" kern="0" dirty="0">
                <a:solidFill>
                  <a:schemeClr val="accent2"/>
                </a:solidFill>
                <a:latin typeface="+mj-lt"/>
              </a:rPr>
              <a:t>Tilslutning</a:t>
            </a:r>
          </a:p>
        </p:txBody>
      </p:sp>
      <p:grpSp>
        <p:nvGrpSpPr>
          <p:cNvPr id="89" name="Grafik 97">
            <a:extLst>
              <a:ext uri="{FF2B5EF4-FFF2-40B4-BE49-F238E27FC236}">
                <a16:creationId xmlns:a16="http://schemas.microsoft.com/office/drawing/2014/main" id="{7BACA2D3-F8D3-4705-95C0-90D391D91889}"/>
              </a:ext>
            </a:extLst>
          </p:cNvPr>
          <p:cNvGrpSpPr/>
          <p:nvPr/>
        </p:nvGrpSpPr>
        <p:grpSpPr>
          <a:xfrm>
            <a:off x="8370333" y="2701095"/>
            <a:ext cx="143647" cy="260585"/>
            <a:chOff x="4357289" y="3434614"/>
            <a:chExt cx="272681" cy="494662"/>
          </a:xfrm>
        </p:grpSpPr>
        <p:sp>
          <p:nvSpPr>
            <p:cNvPr id="90" name="Freeform: Shape 279">
              <a:extLst>
                <a:ext uri="{FF2B5EF4-FFF2-40B4-BE49-F238E27FC236}">
                  <a16:creationId xmlns:a16="http://schemas.microsoft.com/office/drawing/2014/main" id="{226791D3-2534-4E9D-9136-742FDFDB5E37}"/>
                </a:ext>
              </a:extLst>
            </p:cNvPr>
            <p:cNvSpPr/>
            <p:nvPr/>
          </p:nvSpPr>
          <p:spPr>
            <a:xfrm>
              <a:off x="4357289" y="3434614"/>
              <a:ext cx="272681" cy="494662"/>
            </a:xfrm>
            <a:custGeom>
              <a:avLst/>
              <a:gdLst>
                <a:gd name="connsiteX0" fmla="*/ 237356 w 272680"/>
                <a:gd name="connsiteY0" fmla="*/ 0 h 494662"/>
                <a:gd name="connsiteX1" fmla="*/ 35627 w 272680"/>
                <a:gd name="connsiteY1" fmla="*/ 0 h 494662"/>
                <a:gd name="connsiteX2" fmla="*/ 0 w 272680"/>
                <a:gd name="connsiteY2" fmla="*/ 35627 h 494662"/>
                <a:gd name="connsiteX3" fmla="*/ 0 w 272680"/>
                <a:gd name="connsiteY3" fmla="*/ 459542 h 494662"/>
                <a:gd name="connsiteX4" fmla="*/ 35627 w 272680"/>
                <a:gd name="connsiteY4" fmla="*/ 495169 h 494662"/>
                <a:gd name="connsiteX5" fmla="*/ 237356 w 272680"/>
                <a:gd name="connsiteY5" fmla="*/ 495169 h 494662"/>
                <a:gd name="connsiteX6" fmla="*/ 272982 w 272680"/>
                <a:gd name="connsiteY6" fmla="*/ 459542 h 494662"/>
                <a:gd name="connsiteX7" fmla="*/ 272982 w 272680"/>
                <a:gd name="connsiteY7" fmla="*/ 35627 h 494662"/>
                <a:gd name="connsiteX8" fmla="*/ 237356 w 272680"/>
                <a:gd name="connsiteY8" fmla="*/ 0 h 494662"/>
                <a:gd name="connsiteX9" fmla="*/ 234615 w 272680"/>
                <a:gd name="connsiteY9" fmla="*/ 456802 h 494662"/>
                <a:gd name="connsiteX10" fmla="*/ 38367 w 272680"/>
                <a:gd name="connsiteY10" fmla="*/ 456802 h 494662"/>
                <a:gd name="connsiteX11" fmla="*/ 38367 w 272680"/>
                <a:gd name="connsiteY11" fmla="*/ 38367 h 494662"/>
                <a:gd name="connsiteX12" fmla="*/ 97411 w 272680"/>
                <a:gd name="connsiteY12" fmla="*/ 38367 h 494662"/>
                <a:gd name="connsiteX13" fmla="*/ 97411 w 272680"/>
                <a:gd name="connsiteY13" fmla="*/ 56687 h 494662"/>
                <a:gd name="connsiteX14" fmla="*/ 174954 w 272680"/>
                <a:gd name="connsiteY14" fmla="*/ 56687 h 494662"/>
                <a:gd name="connsiteX15" fmla="*/ 174954 w 272680"/>
                <a:gd name="connsiteY15" fmla="*/ 38367 h 494662"/>
                <a:gd name="connsiteX16" fmla="*/ 234615 w 272680"/>
                <a:gd name="connsiteY16" fmla="*/ 38367 h 494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2680" h="494662">
                  <a:moveTo>
                    <a:pt x="237356" y="0"/>
                  </a:moveTo>
                  <a:lnTo>
                    <a:pt x="35627" y="0"/>
                  </a:lnTo>
                  <a:cubicBezTo>
                    <a:pt x="15951" y="0"/>
                    <a:pt x="0" y="15951"/>
                    <a:pt x="0" y="35627"/>
                  </a:cubicBezTo>
                  <a:lnTo>
                    <a:pt x="0" y="459542"/>
                  </a:lnTo>
                  <a:cubicBezTo>
                    <a:pt x="0" y="479218"/>
                    <a:pt x="15951" y="495169"/>
                    <a:pt x="35627" y="495169"/>
                  </a:cubicBezTo>
                  <a:lnTo>
                    <a:pt x="237356" y="495169"/>
                  </a:lnTo>
                  <a:cubicBezTo>
                    <a:pt x="257031" y="495169"/>
                    <a:pt x="272982" y="479218"/>
                    <a:pt x="272982" y="459542"/>
                  </a:cubicBezTo>
                  <a:lnTo>
                    <a:pt x="272982" y="35627"/>
                  </a:lnTo>
                  <a:cubicBezTo>
                    <a:pt x="272982" y="15951"/>
                    <a:pt x="257031" y="0"/>
                    <a:pt x="237356" y="0"/>
                  </a:cubicBezTo>
                  <a:close/>
                  <a:moveTo>
                    <a:pt x="234615" y="456802"/>
                  </a:moveTo>
                  <a:lnTo>
                    <a:pt x="38367" y="456802"/>
                  </a:lnTo>
                  <a:lnTo>
                    <a:pt x="38367" y="38367"/>
                  </a:lnTo>
                  <a:lnTo>
                    <a:pt x="97411" y="38367"/>
                  </a:lnTo>
                  <a:lnTo>
                    <a:pt x="97411" y="56687"/>
                  </a:lnTo>
                  <a:lnTo>
                    <a:pt x="174954" y="56687"/>
                  </a:lnTo>
                  <a:lnTo>
                    <a:pt x="174954" y="38367"/>
                  </a:lnTo>
                  <a:lnTo>
                    <a:pt x="234615" y="38367"/>
                  </a:lnTo>
                  <a:close/>
                </a:path>
              </a:pathLst>
            </a:custGeom>
            <a:solidFill>
              <a:srgbClr val="3755D7"/>
            </a:solidFill>
            <a:ln w="1363" cap="flat">
              <a:noFill/>
              <a:prstDash val="solid"/>
              <a:miter/>
            </a:ln>
          </p:spPr>
          <p:txBody>
            <a:bodyPr rtlCol="0" anchor="ctr"/>
            <a:lstStyle/>
            <a:p>
              <a:endParaRPr lang="en-GB">
                <a:latin typeface="+mj-lt"/>
              </a:endParaRPr>
            </a:p>
          </p:txBody>
        </p:sp>
        <p:sp>
          <p:nvSpPr>
            <p:cNvPr id="91" name="Freeform: Shape 280">
              <a:extLst>
                <a:ext uri="{FF2B5EF4-FFF2-40B4-BE49-F238E27FC236}">
                  <a16:creationId xmlns:a16="http://schemas.microsoft.com/office/drawing/2014/main" id="{22D48A84-CD2D-4B6F-AD86-353C19415A02}"/>
                </a:ext>
              </a:extLst>
            </p:cNvPr>
            <p:cNvSpPr/>
            <p:nvPr/>
          </p:nvSpPr>
          <p:spPr>
            <a:xfrm>
              <a:off x="4474898" y="3820944"/>
              <a:ext cx="36997" cy="36997"/>
            </a:xfrm>
            <a:custGeom>
              <a:avLst/>
              <a:gdLst>
                <a:gd name="connsiteX0" fmla="*/ 18937 w 36996"/>
                <a:gd name="connsiteY0" fmla="*/ 0 h 36996"/>
                <a:gd name="connsiteX1" fmla="*/ 0 w 36996"/>
                <a:gd name="connsiteY1" fmla="*/ 18937 h 36996"/>
                <a:gd name="connsiteX2" fmla="*/ 18937 w 36996"/>
                <a:gd name="connsiteY2" fmla="*/ 37874 h 36996"/>
                <a:gd name="connsiteX3" fmla="*/ 37874 w 36996"/>
                <a:gd name="connsiteY3" fmla="*/ 18937 h 36996"/>
                <a:gd name="connsiteX4" fmla="*/ 18937 w 36996"/>
                <a:gd name="connsiteY4" fmla="*/ 0 h 36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96" h="36996">
                  <a:moveTo>
                    <a:pt x="18937" y="0"/>
                  </a:moveTo>
                  <a:cubicBezTo>
                    <a:pt x="8478" y="0"/>
                    <a:pt x="0" y="8478"/>
                    <a:pt x="0" y="18937"/>
                  </a:cubicBezTo>
                  <a:cubicBezTo>
                    <a:pt x="0" y="29396"/>
                    <a:pt x="8478" y="37874"/>
                    <a:pt x="18937" y="37874"/>
                  </a:cubicBezTo>
                  <a:cubicBezTo>
                    <a:pt x="29396" y="37874"/>
                    <a:pt x="37874" y="29396"/>
                    <a:pt x="37874" y="18937"/>
                  </a:cubicBezTo>
                  <a:cubicBezTo>
                    <a:pt x="37874" y="8478"/>
                    <a:pt x="29396" y="0"/>
                    <a:pt x="18937" y="0"/>
                  </a:cubicBez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92" name="Tekstfelt 91">
            <a:extLst>
              <a:ext uri="{FF2B5EF4-FFF2-40B4-BE49-F238E27FC236}">
                <a16:creationId xmlns:a16="http://schemas.microsoft.com/office/drawing/2014/main" id="{19EAB9F8-1E8C-416E-864F-338BE4140ADC}"/>
              </a:ext>
            </a:extLst>
          </p:cNvPr>
          <p:cNvSpPr txBox="1"/>
          <p:nvPr/>
        </p:nvSpPr>
        <p:spPr bwMode="gray">
          <a:xfrm>
            <a:off x="8928445" y="3067334"/>
            <a:ext cx="767923" cy="24622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Aktivering</a:t>
            </a:r>
          </a:p>
          <a:p>
            <a:pPr algn="ctr"/>
            <a:r>
              <a:rPr lang="da-DK" sz="800" b="1" kern="0" dirty="0">
                <a:solidFill>
                  <a:schemeClr val="accent2"/>
                </a:solidFill>
                <a:latin typeface="+mj-lt"/>
              </a:rPr>
              <a:t>abonnement</a:t>
            </a:r>
          </a:p>
        </p:txBody>
      </p:sp>
      <p:grpSp>
        <p:nvGrpSpPr>
          <p:cNvPr id="93" name="Grafik 55">
            <a:extLst>
              <a:ext uri="{FF2B5EF4-FFF2-40B4-BE49-F238E27FC236}">
                <a16:creationId xmlns:a16="http://schemas.microsoft.com/office/drawing/2014/main" id="{8EEA244B-F09A-4217-A622-A9A127D66627}"/>
              </a:ext>
            </a:extLst>
          </p:cNvPr>
          <p:cNvGrpSpPr/>
          <p:nvPr/>
        </p:nvGrpSpPr>
        <p:grpSpPr>
          <a:xfrm>
            <a:off x="9149481" y="2600446"/>
            <a:ext cx="325852" cy="372755"/>
            <a:chOff x="6099167" y="1390195"/>
            <a:chExt cx="542620" cy="620725"/>
          </a:xfrm>
        </p:grpSpPr>
        <p:sp>
          <p:nvSpPr>
            <p:cNvPr id="94" name="Freeform: Shape 195">
              <a:extLst>
                <a:ext uri="{FF2B5EF4-FFF2-40B4-BE49-F238E27FC236}">
                  <a16:creationId xmlns:a16="http://schemas.microsoft.com/office/drawing/2014/main" id="{64D667CD-6414-44EF-941F-518D709342A3}"/>
                </a:ext>
              </a:extLst>
            </p:cNvPr>
            <p:cNvSpPr/>
            <p:nvPr/>
          </p:nvSpPr>
          <p:spPr>
            <a:xfrm>
              <a:off x="6341934" y="1836898"/>
              <a:ext cx="57551" cy="57551"/>
            </a:xfrm>
            <a:custGeom>
              <a:avLst/>
              <a:gdLst>
                <a:gd name="connsiteX0" fmla="*/ 29132 w 57550"/>
                <a:gd name="connsiteY0" fmla="*/ 0 h 57550"/>
                <a:gd name="connsiteX1" fmla="*/ 0 w 57550"/>
                <a:gd name="connsiteY1" fmla="*/ 29132 h 57550"/>
                <a:gd name="connsiteX2" fmla="*/ 29132 w 57550"/>
                <a:gd name="connsiteY2" fmla="*/ 58263 h 57550"/>
                <a:gd name="connsiteX3" fmla="*/ 58263 w 57550"/>
                <a:gd name="connsiteY3" fmla="*/ 29132 h 57550"/>
                <a:gd name="connsiteX4" fmla="*/ 29132 w 57550"/>
                <a:gd name="connsiteY4" fmla="*/ 0 h 5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50" h="57550">
                  <a:moveTo>
                    <a:pt x="29132" y="0"/>
                  </a:moveTo>
                  <a:cubicBezTo>
                    <a:pt x="13042" y="0"/>
                    <a:pt x="0" y="13042"/>
                    <a:pt x="0" y="29132"/>
                  </a:cubicBezTo>
                  <a:cubicBezTo>
                    <a:pt x="0" y="45221"/>
                    <a:pt x="13042" y="58263"/>
                    <a:pt x="29132" y="58263"/>
                  </a:cubicBezTo>
                  <a:cubicBezTo>
                    <a:pt x="45221" y="58263"/>
                    <a:pt x="58263" y="45221"/>
                    <a:pt x="58263" y="29132"/>
                  </a:cubicBezTo>
                  <a:cubicBezTo>
                    <a:pt x="58263" y="13042"/>
                    <a:pt x="45221" y="0"/>
                    <a:pt x="29132" y="0"/>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95" name="Freeform: Shape 196">
              <a:extLst>
                <a:ext uri="{FF2B5EF4-FFF2-40B4-BE49-F238E27FC236}">
                  <a16:creationId xmlns:a16="http://schemas.microsoft.com/office/drawing/2014/main" id="{8928ECBE-35AE-4599-ABCD-D15414D38C7E}"/>
                </a:ext>
              </a:extLst>
            </p:cNvPr>
            <p:cNvSpPr/>
            <p:nvPr/>
          </p:nvSpPr>
          <p:spPr>
            <a:xfrm>
              <a:off x="6283233" y="1739828"/>
              <a:ext cx="175392" cy="63032"/>
            </a:xfrm>
            <a:custGeom>
              <a:avLst/>
              <a:gdLst>
                <a:gd name="connsiteX0" fmla="*/ 148248 w 175392"/>
                <a:gd name="connsiteY0" fmla="*/ 63814 h 63031"/>
                <a:gd name="connsiteX1" fmla="*/ 27424 w 175392"/>
                <a:gd name="connsiteY1" fmla="*/ 63795 h 63031"/>
                <a:gd name="connsiteX2" fmla="*/ 27405 w 175392"/>
                <a:gd name="connsiteY2" fmla="*/ 63814 h 63031"/>
                <a:gd name="connsiteX3" fmla="*/ 0 w 175392"/>
                <a:gd name="connsiteY3" fmla="*/ 36409 h 63031"/>
                <a:gd name="connsiteX4" fmla="*/ 175761 w 175392"/>
                <a:gd name="connsiteY4" fmla="*/ 36394 h 63031"/>
                <a:gd name="connsiteX5" fmla="*/ 175776 w 175392"/>
                <a:gd name="connsiteY5" fmla="*/ 36409 h 6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392" h="63031">
                  <a:moveTo>
                    <a:pt x="148248" y="63814"/>
                  </a:moveTo>
                  <a:cubicBezTo>
                    <a:pt x="114889" y="30444"/>
                    <a:pt x="60794" y="30436"/>
                    <a:pt x="27424" y="63795"/>
                  </a:cubicBezTo>
                  <a:cubicBezTo>
                    <a:pt x="27417" y="63802"/>
                    <a:pt x="27412" y="63807"/>
                    <a:pt x="27405" y="63814"/>
                  </a:cubicBezTo>
                  <a:lnTo>
                    <a:pt x="0" y="36409"/>
                  </a:lnTo>
                  <a:cubicBezTo>
                    <a:pt x="48532" y="-12131"/>
                    <a:pt x="127222" y="-12137"/>
                    <a:pt x="175761" y="36394"/>
                  </a:cubicBezTo>
                  <a:cubicBezTo>
                    <a:pt x="175766" y="36399"/>
                    <a:pt x="175771" y="36403"/>
                    <a:pt x="175776" y="36409"/>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96" name="Freeform: Shape 197">
              <a:extLst>
                <a:ext uri="{FF2B5EF4-FFF2-40B4-BE49-F238E27FC236}">
                  <a16:creationId xmlns:a16="http://schemas.microsoft.com/office/drawing/2014/main" id="{60F6F118-33D1-4D60-8925-8165BA5DA50B}"/>
                </a:ext>
              </a:extLst>
            </p:cNvPr>
            <p:cNvSpPr/>
            <p:nvPr/>
          </p:nvSpPr>
          <p:spPr>
            <a:xfrm>
              <a:off x="6214569" y="1642829"/>
              <a:ext cx="312418" cy="91807"/>
            </a:xfrm>
            <a:custGeom>
              <a:avLst/>
              <a:gdLst>
                <a:gd name="connsiteX0" fmla="*/ 285588 w 312417"/>
                <a:gd name="connsiteY0" fmla="*/ 92150 h 91806"/>
                <a:gd name="connsiteX1" fmla="*/ 27405 w 312417"/>
                <a:gd name="connsiteY1" fmla="*/ 92150 h 91806"/>
                <a:gd name="connsiteX2" fmla="*/ 0 w 312417"/>
                <a:gd name="connsiteY2" fmla="*/ 64744 h 91806"/>
                <a:gd name="connsiteX3" fmla="*/ 313103 w 312417"/>
                <a:gd name="connsiteY3" fmla="*/ 64744 h 91806"/>
              </a:gdLst>
              <a:ahLst/>
              <a:cxnLst>
                <a:cxn ang="0">
                  <a:pos x="connsiteX0" y="connsiteY0"/>
                </a:cxn>
                <a:cxn ang="0">
                  <a:pos x="connsiteX1" y="connsiteY1"/>
                </a:cxn>
                <a:cxn ang="0">
                  <a:pos x="connsiteX2" y="connsiteY2"/>
                </a:cxn>
                <a:cxn ang="0">
                  <a:pos x="connsiteX3" y="connsiteY3"/>
                </a:cxn>
              </a:cxnLst>
              <a:rect l="l" t="t" r="r" b="b"/>
              <a:pathLst>
                <a:path w="312417" h="91806">
                  <a:moveTo>
                    <a:pt x="285588" y="92150"/>
                  </a:moveTo>
                  <a:cubicBezTo>
                    <a:pt x="214403" y="20896"/>
                    <a:pt x="98590" y="20979"/>
                    <a:pt x="27405" y="92150"/>
                  </a:cubicBezTo>
                  <a:lnTo>
                    <a:pt x="0" y="64744"/>
                  </a:lnTo>
                  <a:cubicBezTo>
                    <a:pt x="86326" y="-21581"/>
                    <a:pt x="226777" y="-21581"/>
                    <a:pt x="313103" y="64744"/>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97" name="Freeform: Shape 198">
              <a:extLst>
                <a:ext uri="{FF2B5EF4-FFF2-40B4-BE49-F238E27FC236}">
                  <a16:creationId xmlns:a16="http://schemas.microsoft.com/office/drawing/2014/main" id="{DFCB94E7-AB9B-4F85-9127-4939C2DC1222}"/>
                </a:ext>
              </a:extLst>
            </p:cNvPr>
            <p:cNvSpPr/>
            <p:nvPr/>
          </p:nvSpPr>
          <p:spPr>
            <a:xfrm>
              <a:off x="6099167" y="1390195"/>
              <a:ext cx="542620" cy="620725"/>
            </a:xfrm>
            <a:custGeom>
              <a:avLst/>
              <a:gdLst>
                <a:gd name="connsiteX0" fmla="*/ 543785 w 542620"/>
                <a:gd name="connsiteY0" fmla="*/ 621465 h 620724"/>
                <a:gd name="connsiteX1" fmla="*/ 0 w 542620"/>
                <a:gd name="connsiteY1" fmla="*/ 621465 h 620724"/>
                <a:gd name="connsiteX2" fmla="*/ 0 w 542620"/>
                <a:gd name="connsiteY2" fmla="*/ 233053 h 620724"/>
                <a:gd name="connsiteX3" fmla="*/ 271899 w 542620"/>
                <a:gd name="connsiteY3" fmla="*/ 0 h 620724"/>
                <a:gd name="connsiteX4" fmla="*/ 543785 w 542620"/>
                <a:gd name="connsiteY4" fmla="*/ 233053 h 620724"/>
                <a:gd name="connsiteX5" fmla="*/ 38792 w 542620"/>
                <a:gd name="connsiteY5" fmla="*/ 582632 h 620724"/>
                <a:gd name="connsiteX6" fmla="*/ 504952 w 542620"/>
                <a:gd name="connsiteY6" fmla="*/ 582632 h 620724"/>
                <a:gd name="connsiteX7" fmla="*/ 504952 w 542620"/>
                <a:gd name="connsiteY7" fmla="*/ 250907 h 620724"/>
                <a:gd name="connsiteX8" fmla="*/ 271899 w 542620"/>
                <a:gd name="connsiteY8" fmla="*/ 51152 h 620724"/>
                <a:gd name="connsiteX9" fmla="*/ 38792 w 542620"/>
                <a:gd name="connsiteY9" fmla="*/ 250921 h 6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620" h="620724">
                  <a:moveTo>
                    <a:pt x="543785" y="621465"/>
                  </a:moveTo>
                  <a:lnTo>
                    <a:pt x="0" y="621465"/>
                  </a:lnTo>
                  <a:lnTo>
                    <a:pt x="0" y="233053"/>
                  </a:lnTo>
                  <a:lnTo>
                    <a:pt x="271899" y="0"/>
                  </a:lnTo>
                  <a:lnTo>
                    <a:pt x="543785" y="233053"/>
                  </a:lnTo>
                  <a:close/>
                  <a:moveTo>
                    <a:pt x="38792" y="582632"/>
                  </a:moveTo>
                  <a:lnTo>
                    <a:pt x="504952" y="582632"/>
                  </a:lnTo>
                  <a:lnTo>
                    <a:pt x="504952" y="250907"/>
                  </a:lnTo>
                  <a:lnTo>
                    <a:pt x="271899" y="51152"/>
                  </a:lnTo>
                  <a:lnTo>
                    <a:pt x="38792" y="250921"/>
                  </a:ln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98" name="Tekstfelt 97">
            <a:extLst>
              <a:ext uri="{FF2B5EF4-FFF2-40B4-BE49-F238E27FC236}">
                <a16:creationId xmlns:a16="http://schemas.microsoft.com/office/drawing/2014/main" id="{2EFBC773-8757-43DF-8A82-2EA8C3D25E69}"/>
              </a:ext>
            </a:extLst>
          </p:cNvPr>
          <p:cNvSpPr txBox="1"/>
          <p:nvPr/>
        </p:nvSpPr>
        <p:spPr>
          <a:xfrm>
            <a:off x="2091930" y="2225980"/>
            <a:ext cx="1448881" cy="193899"/>
          </a:xfrm>
          <a:prstGeom prst="rect">
            <a:avLst/>
          </a:prstGeom>
          <a:noFill/>
        </p:spPr>
        <p:txBody>
          <a:bodyPr wrap="square" lIns="0" tIns="0" rIns="0" bIns="0" rtlCol="0">
            <a:spAutoFit/>
          </a:bodyPr>
          <a:lstStyle/>
          <a:p>
            <a:pPr algn="ctr">
              <a:lnSpc>
                <a:spcPct val="90000"/>
              </a:lnSpc>
              <a:buClr>
                <a:schemeClr val="accent1"/>
              </a:buClr>
              <a:buSzPct val="110000"/>
            </a:pPr>
            <a:r>
              <a:rPr lang="da-DK" sz="1400" dirty="0">
                <a:solidFill>
                  <a:schemeClr val="accent2"/>
                </a:solidFill>
              </a:rPr>
              <a:t>Opstart</a:t>
            </a:r>
          </a:p>
        </p:txBody>
      </p:sp>
      <p:sp>
        <p:nvSpPr>
          <p:cNvPr id="99" name="Tekstfelt 98">
            <a:extLst>
              <a:ext uri="{FF2B5EF4-FFF2-40B4-BE49-F238E27FC236}">
                <a16:creationId xmlns:a16="http://schemas.microsoft.com/office/drawing/2014/main" id="{9B12854A-4685-4D5D-94E5-0CA5A45B12AF}"/>
              </a:ext>
            </a:extLst>
          </p:cNvPr>
          <p:cNvSpPr txBox="1"/>
          <p:nvPr/>
        </p:nvSpPr>
        <p:spPr>
          <a:xfrm>
            <a:off x="6096000" y="2237101"/>
            <a:ext cx="1489298" cy="193899"/>
          </a:xfrm>
          <a:prstGeom prst="rect">
            <a:avLst/>
          </a:prstGeom>
          <a:noFill/>
        </p:spPr>
        <p:txBody>
          <a:bodyPr wrap="square" lIns="0" tIns="0" rIns="0" bIns="0" rtlCol="0">
            <a:spAutoFit/>
          </a:bodyPr>
          <a:lstStyle/>
          <a:p>
            <a:pPr algn="ctr">
              <a:lnSpc>
                <a:spcPct val="90000"/>
              </a:lnSpc>
              <a:buClr>
                <a:schemeClr val="accent1"/>
              </a:buClr>
              <a:buSzPct val="110000"/>
            </a:pPr>
            <a:r>
              <a:rPr lang="da-DK" sz="1400" dirty="0">
                <a:solidFill>
                  <a:schemeClr val="accent2"/>
                </a:solidFill>
              </a:rPr>
              <a:t>Installation</a:t>
            </a:r>
          </a:p>
        </p:txBody>
      </p:sp>
      <p:sp>
        <p:nvSpPr>
          <p:cNvPr id="100" name="Tekstfelt 99">
            <a:extLst>
              <a:ext uri="{FF2B5EF4-FFF2-40B4-BE49-F238E27FC236}">
                <a16:creationId xmlns:a16="http://schemas.microsoft.com/office/drawing/2014/main" id="{806C2C21-AB58-43A5-A9A8-C6492DE70F4F}"/>
              </a:ext>
            </a:extLst>
          </p:cNvPr>
          <p:cNvSpPr txBox="1"/>
          <p:nvPr/>
        </p:nvSpPr>
        <p:spPr>
          <a:xfrm>
            <a:off x="3611218" y="2231135"/>
            <a:ext cx="2100729" cy="193899"/>
          </a:xfrm>
          <a:prstGeom prst="rect">
            <a:avLst/>
          </a:prstGeom>
          <a:noFill/>
        </p:spPr>
        <p:txBody>
          <a:bodyPr wrap="square" lIns="0" tIns="0" rIns="0" bIns="0" rtlCol="0">
            <a:spAutoFit/>
          </a:bodyPr>
          <a:lstStyle/>
          <a:p>
            <a:pPr algn="ctr">
              <a:lnSpc>
                <a:spcPct val="90000"/>
              </a:lnSpc>
              <a:buClr>
                <a:schemeClr val="accent1"/>
              </a:buClr>
              <a:buSzPct val="110000"/>
            </a:pPr>
            <a:r>
              <a:rPr lang="da-DK" sz="1400" dirty="0">
                <a:solidFill>
                  <a:schemeClr val="accent2"/>
                </a:solidFill>
              </a:rPr>
              <a:t>Gravning</a:t>
            </a:r>
          </a:p>
        </p:txBody>
      </p:sp>
      <p:sp>
        <p:nvSpPr>
          <p:cNvPr id="101" name="Tekstfelt 100">
            <a:extLst>
              <a:ext uri="{FF2B5EF4-FFF2-40B4-BE49-F238E27FC236}">
                <a16:creationId xmlns:a16="http://schemas.microsoft.com/office/drawing/2014/main" id="{26C6E79C-B32D-4213-9694-7A7B65E99FBF}"/>
              </a:ext>
            </a:extLst>
          </p:cNvPr>
          <p:cNvSpPr txBox="1"/>
          <p:nvPr/>
        </p:nvSpPr>
        <p:spPr>
          <a:xfrm>
            <a:off x="7266245" y="2217122"/>
            <a:ext cx="2348074" cy="193899"/>
          </a:xfrm>
          <a:prstGeom prst="rect">
            <a:avLst/>
          </a:prstGeom>
          <a:noFill/>
        </p:spPr>
        <p:txBody>
          <a:bodyPr wrap="square" lIns="0" tIns="0" rIns="0" bIns="0" rtlCol="0">
            <a:spAutoFit/>
          </a:bodyPr>
          <a:lstStyle/>
          <a:p>
            <a:pPr algn="ctr">
              <a:lnSpc>
                <a:spcPct val="90000"/>
              </a:lnSpc>
              <a:buClr>
                <a:schemeClr val="accent1"/>
              </a:buClr>
              <a:buSzPct val="110000"/>
            </a:pPr>
            <a:r>
              <a:rPr lang="da-DK" sz="1400" dirty="0">
                <a:solidFill>
                  <a:schemeClr val="accent2"/>
                </a:solidFill>
              </a:rPr>
              <a:t>Aktivering</a:t>
            </a:r>
          </a:p>
        </p:txBody>
      </p:sp>
      <p:sp>
        <p:nvSpPr>
          <p:cNvPr id="102" name="Tekstfelt 101">
            <a:extLst>
              <a:ext uri="{FF2B5EF4-FFF2-40B4-BE49-F238E27FC236}">
                <a16:creationId xmlns:a16="http://schemas.microsoft.com/office/drawing/2014/main" id="{2EE0C165-FFD3-47CE-B91B-57E45EDC087E}"/>
              </a:ext>
            </a:extLst>
          </p:cNvPr>
          <p:cNvSpPr txBox="1"/>
          <p:nvPr/>
        </p:nvSpPr>
        <p:spPr bwMode="gray">
          <a:xfrm>
            <a:off x="6149077" y="3087606"/>
            <a:ext cx="944727" cy="123111"/>
          </a:xfrm>
          <a:prstGeom prst="rect">
            <a:avLst/>
          </a:prstGeom>
          <a:noFill/>
        </p:spPr>
        <p:txBody>
          <a:bodyPr vert="horz" wrap="square" lIns="0" tIns="0" rIns="0" bIns="0" rtlCol="0">
            <a:spAutoFit/>
          </a:bodyPr>
          <a:lstStyle/>
          <a:p>
            <a:pPr algn="ctr"/>
            <a:r>
              <a:rPr lang="da-DK" sz="800" b="1" kern="0" dirty="0">
                <a:solidFill>
                  <a:schemeClr val="accent2"/>
                </a:solidFill>
                <a:latin typeface="+mj-lt"/>
              </a:rPr>
              <a:t>Fiberinstallation</a:t>
            </a:r>
          </a:p>
        </p:txBody>
      </p:sp>
      <p:grpSp>
        <p:nvGrpSpPr>
          <p:cNvPr id="103" name="Grafik 79">
            <a:extLst>
              <a:ext uri="{FF2B5EF4-FFF2-40B4-BE49-F238E27FC236}">
                <a16:creationId xmlns:a16="http://schemas.microsoft.com/office/drawing/2014/main" id="{42D400F9-B6DA-441B-8632-68B9AAB7A52E}"/>
              </a:ext>
            </a:extLst>
          </p:cNvPr>
          <p:cNvGrpSpPr/>
          <p:nvPr/>
        </p:nvGrpSpPr>
        <p:grpSpPr>
          <a:xfrm>
            <a:off x="6399641" y="2730793"/>
            <a:ext cx="196021" cy="275810"/>
            <a:chOff x="5231152" y="2471142"/>
            <a:chExt cx="364444" cy="512790"/>
          </a:xfrm>
        </p:grpSpPr>
        <p:sp>
          <p:nvSpPr>
            <p:cNvPr id="104" name="Freeform: Shape 239">
              <a:extLst>
                <a:ext uri="{FF2B5EF4-FFF2-40B4-BE49-F238E27FC236}">
                  <a16:creationId xmlns:a16="http://schemas.microsoft.com/office/drawing/2014/main" id="{D02624A3-EECF-4D28-8B73-E14963E2A4CC}"/>
                </a:ext>
              </a:extLst>
            </p:cNvPr>
            <p:cNvSpPr/>
            <p:nvPr/>
          </p:nvSpPr>
          <p:spPr>
            <a:xfrm>
              <a:off x="5231152" y="2476938"/>
              <a:ext cx="209649" cy="506994"/>
            </a:xfrm>
            <a:custGeom>
              <a:avLst/>
              <a:gdLst>
                <a:gd name="connsiteX0" fmla="*/ 104698 w 209649"/>
                <a:gd name="connsiteY0" fmla="*/ 507926 h 506994"/>
                <a:gd name="connsiteX1" fmla="*/ 44558 w 209649"/>
                <a:gd name="connsiteY1" fmla="*/ 447799 h 506994"/>
                <a:gd name="connsiteX2" fmla="*/ 44709 w 209649"/>
                <a:gd name="connsiteY2" fmla="*/ 194110 h 506994"/>
                <a:gd name="connsiteX3" fmla="*/ 19210 w 209649"/>
                <a:gd name="connsiteY3" fmla="*/ 47348 h 506994"/>
                <a:gd name="connsiteX4" fmla="*/ 54300 w 209649"/>
                <a:gd name="connsiteY4" fmla="*/ 15840 h 506994"/>
                <a:gd name="connsiteX5" fmla="*/ 82788 w 209649"/>
                <a:gd name="connsiteY5" fmla="*/ 41 h 506994"/>
                <a:gd name="connsiteX6" fmla="*/ 82788 w 209649"/>
                <a:gd name="connsiteY6" fmla="*/ 80735 h 506994"/>
                <a:gd name="connsiteX7" fmla="*/ 83665 w 209649"/>
                <a:gd name="connsiteY7" fmla="*/ 81612 h 506994"/>
                <a:gd name="connsiteX8" fmla="*/ 126431 w 209649"/>
                <a:gd name="connsiteY8" fmla="*/ 81612 h 506994"/>
                <a:gd name="connsiteX9" fmla="*/ 127294 w 209649"/>
                <a:gd name="connsiteY9" fmla="*/ 80735 h 506994"/>
                <a:gd name="connsiteX10" fmla="*/ 127294 w 209649"/>
                <a:gd name="connsiteY10" fmla="*/ 0 h 506994"/>
                <a:gd name="connsiteX11" fmla="*/ 155658 w 209649"/>
                <a:gd name="connsiteY11" fmla="*/ 15456 h 506994"/>
                <a:gd name="connsiteX12" fmla="*/ 197774 w 209649"/>
                <a:gd name="connsiteY12" fmla="*/ 158319 h 506994"/>
                <a:gd name="connsiteX13" fmla="*/ 164798 w 209649"/>
                <a:gd name="connsiteY13" fmla="*/ 194837 h 506994"/>
                <a:gd name="connsiteX14" fmla="*/ 164674 w 209649"/>
                <a:gd name="connsiteY14" fmla="*/ 449457 h 506994"/>
                <a:gd name="connsiteX15" fmla="*/ 164674 w 209649"/>
                <a:gd name="connsiteY15" fmla="*/ 450074 h 506994"/>
                <a:gd name="connsiteX16" fmla="*/ 104698 w 209649"/>
                <a:gd name="connsiteY16" fmla="*/ 507926 h 506994"/>
                <a:gd name="connsiteX17" fmla="*/ 44407 w 209649"/>
                <a:gd name="connsiteY17" fmla="*/ 80160 h 506994"/>
                <a:gd name="connsiteX18" fmla="*/ 73182 w 209649"/>
                <a:gd name="connsiteY18" fmla="*/ 166692 h 506994"/>
                <a:gd name="connsiteX19" fmla="*/ 83131 w 209649"/>
                <a:gd name="connsiteY19" fmla="*/ 172173 h 506994"/>
                <a:gd name="connsiteX20" fmla="*/ 83131 w 209649"/>
                <a:gd name="connsiteY20" fmla="*/ 183532 h 506994"/>
                <a:gd name="connsiteX21" fmla="*/ 82966 w 209649"/>
                <a:gd name="connsiteY21" fmla="*/ 447813 h 506994"/>
                <a:gd name="connsiteX22" fmla="*/ 104739 w 209649"/>
                <a:gd name="connsiteY22" fmla="*/ 469573 h 506994"/>
                <a:gd name="connsiteX23" fmla="*/ 126389 w 209649"/>
                <a:gd name="connsiteY23" fmla="*/ 448142 h 506994"/>
                <a:gd name="connsiteX24" fmla="*/ 126527 w 209649"/>
                <a:gd name="connsiteY24" fmla="*/ 172556 h 506994"/>
                <a:gd name="connsiteX25" fmla="*/ 136694 w 209649"/>
                <a:gd name="connsiteY25" fmla="*/ 167157 h 506994"/>
                <a:gd name="connsiteX26" fmla="*/ 165675 w 209649"/>
                <a:gd name="connsiteY26" fmla="*/ 78954 h 506994"/>
                <a:gd name="connsiteX27" fmla="*/ 165675 w 209649"/>
                <a:gd name="connsiteY27" fmla="*/ 80749 h 506994"/>
                <a:gd name="connsiteX28" fmla="*/ 126431 w 209649"/>
                <a:gd name="connsiteY28" fmla="*/ 119980 h 506994"/>
                <a:gd name="connsiteX29" fmla="*/ 83679 w 209649"/>
                <a:gd name="connsiteY29" fmla="*/ 119980 h 506994"/>
                <a:gd name="connsiteX30" fmla="*/ 44435 w 209649"/>
                <a:gd name="connsiteY30" fmla="*/ 80735 h 50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9649" h="506994">
                  <a:moveTo>
                    <a:pt x="104698" y="507926"/>
                  </a:moveTo>
                  <a:cubicBezTo>
                    <a:pt x="71501" y="507896"/>
                    <a:pt x="44596" y="480996"/>
                    <a:pt x="44558" y="447799"/>
                  </a:cubicBezTo>
                  <a:cubicBezTo>
                    <a:pt x="44558" y="446772"/>
                    <a:pt x="44681" y="243302"/>
                    <a:pt x="44709" y="194110"/>
                  </a:cubicBezTo>
                  <a:cubicBezTo>
                    <a:pt x="-2860" y="160624"/>
                    <a:pt x="-14277" y="94916"/>
                    <a:pt x="19210" y="47348"/>
                  </a:cubicBezTo>
                  <a:cubicBezTo>
                    <a:pt x="28375" y="34328"/>
                    <a:pt x="40372" y="23556"/>
                    <a:pt x="54300" y="15840"/>
                  </a:cubicBezTo>
                  <a:lnTo>
                    <a:pt x="82788" y="41"/>
                  </a:lnTo>
                  <a:lnTo>
                    <a:pt x="82788" y="80735"/>
                  </a:lnTo>
                  <a:cubicBezTo>
                    <a:pt x="82815" y="81208"/>
                    <a:pt x="83192" y="81585"/>
                    <a:pt x="83665" y="81612"/>
                  </a:cubicBezTo>
                  <a:lnTo>
                    <a:pt x="126431" y="81612"/>
                  </a:lnTo>
                  <a:cubicBezTo>
                    <a:pt x="126901" y="81585"/>
                    <a:pt x="127273" y="81205"/>
                    <a:pt x="127294" y="80735"/>
                  </a:cubicBezTo>
                  <a:lnTo>
                    <a:pt x="127294" y="0"/>
                  </a:lnTo>
                  <a:lnTo>
                    <a:pt x="155658" y="15456"/>
                  </a:lnTo>
                  <a:cubicBezTo>
                    <a:pt x="206739" y="43277"/>
                    <a:pt x="225595" y="107239"/>
                    <a:pt x="197774" y="158319"/>
                  </a:cubicBezTo>
                  <a:cubicBezTo>
                    <a:pt x="189819" y="172925"/>
                    <a:pt x="178518" y="185439"/>
                    <a:pt x="164798" y="194837"/>
                  </a:cubicBezTo>
                  <a:lnTo>
                    <a:pt x="164674" y="449457"/>
                  </a:lnTo>
                  <a:lnTo>
                    <a:pt x="164674" y="450074"/>
                  </a:lnTo>
                  <a:cubicBezTo>
                    <a:pt x="162592" y="481987"/>
                    <a:pt x="135680" y="507926"/>
                    <a:pt x="104698" y="507926"/>
                  </a:cubicBezTo>
                  <a:close/>
                  <a:moveTo>
                    <a:pt x="44407" y="80160"/>
                  </a:moveTo>
                  <a:cubicBezTo>
                    <a:pt x="29837" y="112087"/>
                    <a:pt x="42394" y="149848"/>
                    <a:pt x="73182" y="166692"/>
                  </a:cubicBezTo>
                  <a:lnTo>
                    <a:pt x="83131" y="172173"/>
                  </a:lnTo>
                  <a:lnTo>
                    <a:pt x="83131" y="183532"/>
                  </a:lnTo>
                  <a:cubicBezTo>
                    <a:pt x="83131" y="183532"/>
                    <a:pt x="82966" y="446484"/>
                    <a:pt x="82966" y="447813"/>
                  </a:cubicBezTo>
                  <a:cubicBezTo>
                    <a:pt x="82981" y="459830"/>
                    <a:pt x="92722" y="469564"/>
                    <a:pt x="104739" y="469573"/>
                  </a:cubicBezTo>
                  <a:cubicBezTo>
                    <a:pt x="115551" y="469573"/>
                    <a:pt x="125362" y="459816"/>
                    <a:pt x="126389" y="448142"/>
                  </a:cubicBezTo>
                  <a:lnTo>
                    <a:pt x="126527" y="172556"/>
                  </a:lnTo>
                  <a:lnTo>
                    <a:pt x="136694" y="167157"/>
                  </a:lnTo>
                  <a:cubicBezTo>
                    <a:pt x="168488" y="150321"/>
                    <a:pt x="181287" y="111366"/>
                    <a:pt x="165675" y="78954"/>
                  </a:cubicBezTo>
                  <a:lnTo>
                    <a:pt x="165675" y="80749"/>
                  </a:lnTo>
                  <a:cubicBezTo>
                    <a:pt x="165645" y="102409"/>
                    <a:pt x="148090" y="119956"/>
                    <a:pt x="126431" y="119980"/>
                  </a:cubicBezTo>
                  <a:lnTo>
                    <a:pt x="83679" y="119980"/>
                  </a:lnTo>
                  <a:cubicBezTo>
                    <a:pt x="62018" y="119949"/>
                    <a:pt x="44465" y="102396"/>
                    <a:pt x="44435" y="80735"/>
                  </a:cubicBezTo>
                  <a:close/>
                </a:path>
              </a:pathLst>
            </a:custGeom>
            <a:solidFill>
              <a:srgbClr val="3755D7"/>
            </a:solidFill>
            <a:ln w="1363" cap="flat">
              <a:noFill/>
              <a:prstDash val="solid"/>
              <a:miter/>
            </a:ln>
          </p:spPr>
          <p:txBody>
            <a:bodyPr rtlCol="0" anchor="ctr"/>
            <a:lstStyle/>
            <a:p>
              <a:endParaRPr lang="en-GB">
                <a:latin typeface="+mj-lt"/>
              </a:endParaRPr>
            </a:p>
          </p:txBody>
        </p:sp>
        <p:sp>
          <p:nvSpPr>
            <p:cNvPr id="105" name="Freeform: Shape 240">
              <a:extLst>
                <a:ext uri="{FF2B5EF4-FFF2-40B4-BE49-F238E27FC236}">
                  <a16:creationId xmlns:a16="http://schemas.microsoft.com/office/drawing/2014/main" id="{DFC8A94B-4A47-491C-A8D4-ADF4B621E366}"/>
                </a:ext>
              </a:extLst>
            </p:cNvPr>
            <p:cNvSpPr/>
            <p:nvPr/>
          </p:nvSpPr>
          <p:spPr>
            <a:xfrm>
              <a:off x="5472273" y="2471142"/>
              <a:ext cx="123323" cy="512475"/>
            </a:xfrm>
            <a:custGeom>
              <a:avLst/>
              <a:gdLst>
                <a:gd name="connsiteX0" fmla="*/ 83010 w 123322"/>
                <a:gd name="connsiteY0" fmla="*/ 205045 h 512475"/>
                <a:gd name="connsiteX1" fmla="*/ 83010 w 123322"/>
                <a:gd name="connsiteY1" fmla="*/ 46246 h 512475"/>
                <a:gd name="connsiteX2" fmla="*/ 82928 w 123322"/>
                <a:gd name="connsiteY2" fmla="*/ 46246 h 512475"/>
                <a:gd name="connsiteX3" fmla="*/ 82928 w 123322"/>
                <a:gd name="connsiteY3" fmla="*/ 16676 h 512475"/>
                <a:gd name="connsiteX4" fmla="*/ 66252 w 123322"/>
                <a:gd name="connsiteY4" fmla="*/ 0 h 512475"/>
                <a:gd name="connsiteX5" fmla="*/ 58345 w 123322"/>
                <a:gd name="connsiteY5" fmla="*/ 0 h 512475"/>
                <a:gd name="connsiteX6" fmla="*/ 41669 w 123322"/>
                <a:gd name="connsiteY6" fmla="*/ 16676 h 512475"/>
                <a:gd name="connsiteX7" fmla="*/ 41669 w 123322"/>
                <a:gd name="connsiteY7" fmla="*/ 46246 h 512475"/>
                <a:gd name="connsiteX8" fmla="*/ 41341 w 123322"/>
                <a:gd name="connsiteY8" fmla="*/ 46246 h 512475"/>
                <a:gd name="connsiteX9" fmla="*/ 41341 w 123322"/>
                <a:gd name="connsiteY9" fmla="*/ 204935 h 512475"/>
                <a:gd name="connsiteX10" fmla="*/ 0 w 123322"/>
                <a:gd name="connsiteY10" fmla="*/ 262390 h 512475"/>
                <a:gd name="connsiteX11" fmla="*/ 0 w 123322"/>
                <a:gd name="connsiteY11" fmla="*/ 452595 h 512475"/>
                <a:gd name="connsiteX12" fmla="*/ 62892 w 123322"/>
                <a:gd name="connsiteY12" fmla="*/ 513643 h 512475"/>
                <a:gd name="connsiteX13" fmla="*/ 123940 w 123322"/>
                <a:gd name="connsiteY13" fmla="*/ 452595 h 512475"/>
                <a:gd name="connsiteX14" fmla="*/ 123940 w 123322"/>
                <a:gd name="connsiteY14" fmla="*/ 263322 h 512475"/>
                <a:gd name="connsiteX15" fmla="*/ 83010 w 123322"/>
                <a:gd name="connsiteY15" fmla="*/ 205045 h 512475"/>
                <a:gd name="connsiteX16" fmla="*/ 85559 w 123322"/>
                <a:gd name="connsiteY16" fmla="*/ 452595 h 512475"/>
                <a:gd name="connsiteX17" fmla="*/ 61513 w 123322"/>
                <a:gd name="connsiteY17" fmla="*/ 475761 h 512475"/>
                <a:gd name="connsiteX18" fmla="*/ 38353 w 123322"/>
                <a:gd name="connsiteY18" fmla="*/ 452828 h 512475"/>
                <a:gd name="connsiteX19" fmla="*/ 38353 w 123322"/>
                <a:gd name="connsiteY19" fmla="*/ 262842 h 512475"/>
                <a:gd name="connsiteX20" fmla="*/ 62189 w 123322"/>
                <a:gd name="connsiteY20" fmla="*/ 239486 h 512475"/>
                <a:gd name="connsiteX21" fmla="*/ 85545 w 123322"/>
                <a:gd name="connsiteY21" fmla="*/ 263322 h 51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322" h="512475">
                  <a:moveTo>
                    <a:pt x="83010" y="205045"/>
                  </a:moveTo>
                  <a:lnTo>
                    <a:pt x="83010" y="46246"/>
                  </a:lnTo>
                  <a:lnTo>
                    <a:pt x="82928" y="46246"/>
                  </a:lnTo>
                  <a:lnTo>
                    <a:pt x="82928" y="16676"/>
                  </a:lnTo>
                  <a:cubicBezTo>
                    <a:pt x="82906" y="7475"/>
                    <a:pt x="75452" y="23"/>
                    <a:pt x="66252" y="0"/>
                  </a:cubicBezTo>
                  <a:lnTo>
                    <a:pt x="58345" y="0"/>
                  </a:lnTo>
                  <a:cubicBezTo>
                    <a:pt x="49148" y="30"/>
                    <a:pt x="41700" y="7479"/>
                    <a:pt x="41669" y="16676"/>
                  </a:cubicBezTo>
                  <a:lnTo>
                    <a:pt x="41669" y="46246"/>
                  </a:lnTo>
                  <a:lnTo>
                    <a:pt x="41341" y="46246"/>
                  </a:lnTo>
                  <a:lnTo>
                    <a:pt x="41341" y="204935"/>
                  </a:lnTo>
                  <a:cubicBezTo>
                    <a:pt x="16958" y="213634"/>
                    <a:pt x="500" y="236507"/>
                    <a:pt x="0" y="262390"/>
                  </a:cubicBezTo>
                  <a:lnTo>
                    <a:pt x="0" y="452595"/>
                  </a:lnTo>
                  <a:cubicBezTo>
                    <a:pt x="508" y="486820"/>
                    <a:pt x="28666" y="514153"/>
                    <a:pt x="62892" y="513643"/>
                  </a:cubicBezTo>
                  <a:cubicBezTo>
                    <a:pt x="96399" y="513145"/>
                    <a:pt x="123441" y="486102"/>
                    <a:pt x="123940" y="452595"/>
                  </a:cubicBezTo>
                  <a:lnTo>
                    <a:pt x="123940" y="263322"/>
                  </a:lnTo>
                  <a:cubicBezTo>
                    <a:pt x="123904" y="237224"/>
                    <a:pt x="107547" y="213935"/>
                    <a:pt x="83010" y="205045"/>
                  </a:cubicBezTo>
                  <a:close/>
                  <a:moveTo>
                    <a:pt x="85559" y="452595"/>
                  </a:moveTo>
                  <a:cubicBezTo>
                    <a:pt x="85316" y="465632"/>
                    <a:pt x="74550" y="476003"/>
                    <a:pt x="61513" y="475761"/>
                  </a:cubicBezTo>
                  <a:cubicBezTo>
                    <a:pt x="48909" y="475525"/>
                    <a:pt x="38712" y="465429"/>
                    <a:pt x="38353" y="452828"/>
                  </a:cubicBezTo>
                  <a:lnTo>
                    <a:pt x="38353" y="262842"/>
                  </a:lnTo>
                  <a:cubicBezTo>
                    <a:pt x="38486" y="249811"/>
                    <a:pt x="49158" y="239353"/>
                    <a:pt x="62189" y="239486"/>
                  </a:cubicBezTo>
                  <a:cubicBezTo>
                    <a:pt x="75220" y="239619"/>
                    <a:pt x="85678" y="250291"/>
                    <a:pt x="85545" y="263322"/>
                  </a:cubicBezTo>
                  <a:close/>
                </a:path>
              </a:pathLst>
            </a:custGeom>
            <a:solidFill>
              <a:srgbClr val="3755D7"/>
            </a:solidFill>
            <a:ln w="1363" cap="flat">
              <a:noFill/>
              <a:prstDash val="solid"/>
              <a:miter/>
            </a:ln>
          </p:spPr>
          <p:txBody>
            <a:bodyPr rtlCol="0" anchor="ctr"/>
            <a:lstStyle/>
            <a:p>
              <a:endParaRPr lang="en-GB">
                <a:latin typeface="+mj-lt"/>
              </a:endParaRPr>
            </a:p>
          </p:txBody>
        </p:sp>
      </p:grpSp>
      <p:sp>
        <p:nvSpPr>
          <p:cNvPr id="45" name="Pil: vinkel 44">
            <a:extLst>
              <a:ext uri="{FF2B5EF4-FFF2-40B4-BE49-F238E27FC236}">
                <a16:creationId xmlns:a16="http://schemas.microsoft.com/office/drawing/2014/main" id="{0F3CE5FC-DDAD-493E-B241-9B0EE3B352E0}"/>
              </a:ext>
            </a:extLst>
          </p:cNvPr>
          <p:cNvSpPr/>
          <p:nvPr/>
        </p:nvSpPr>
        <p:spPr>
          <a:xfrm>
            <a:off x="9517279" y="2479450"/>
            <a:ext cx="2348074" cy="958915"/>
          </a:xfrm>
          <a:prstGeom prst="chevron">
            <a:avLst/>
          </a:prstGeom>
          <a:solidFill>
            <a:schemeClr val="accent3"/>
          </a:solidFill>
          <a:ln>
            <a:solidFill>
              <a:schemeClr val="tx1"/>
            </a:solid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l">
              <a:lnSpc>
                <a:spcPct val="90000"/>
              </a:lnSpc>
            </a:pPr>
            <a:endParaRPr lang="da-DK" sz="1400" noProof="0" dirty="0" err="1">
              <a:solidFill>
                <a:schemeClr val="tx1"/>
              </a:solidFill>
            </a:endParaRPr>
          </a:p>
        </p:txBody>
      </p:sp>
      <p:sp>
        <p:nvSpPr>
          <p:cNvPr id="46" name="Tekstfelt 45">
            <a:extLst>
              <a:ext uri="{FF2B5EF4-FFF2-40B4-BE49-F238E27FC236}">
                <a16:creationId xmlns:a16="http://schemas.microsoft.com/office/drawing/2014/main" id="{6DBBE35D-3FF1-49E9-8EE5-9BF54D39EA32}"/>
              </a:ext>
            </a:extLst>
          </p:cNvPr>
          <p:cNvSpPr txBox="1"/>
          <p:nvPr/>
        </p:nvSpPr>
        <p:spPr>
          <a:xfrm>
            <a:off x="9368777" y="2212199"/>
            <a:ext cx="2348074" cy="193899"/>
          </a:xfrm>
          <a:prstGeom prst="rect">
            <a:avLst/>
          </a:prstGeom>
          <a:noFill/>
        </p:spPr>
        <p:txBody>
          <a:bodyPr wrap="square" lIns="0" tIns="0" rIns="0" bIns="0" rtlCol="0">
            <a:spAutoFit/>
          </a:bodyPr>
          <a:lstStyle/>
          <a:p>
            <a:pPr algn="ctr">
              <a:lnSpc>
                <a:spcPct val="90000"/>
              </a:lnSpc>
              <a:buClr>
                <a:schemeClr val="accent1"/>
              </a:buClr>
              <a:buSzPct val="110000"/>
            </a:pPr>
            <a:r>
              <a:rPr lang="da-DK" sz="1400" dirty="0">
                <a:solidFill>
                  <a:schemeClr val="accent2"/>
                </a:solidFill>
              </a:rPr>
              <a:t>Færdigmelding</a:t>
            </a:r>
          </a:p>
        </p:txBody>
      </p:sp>
      <p:sp>
        <p:nvSpPr>
          <p:cNvPr id="5" name="Tekstfelt 4">
            <a:extLst>
              <a:ext uri="{FF2B5EF4-FFF2-40B4-BE49-F238E27FC236}">
                <a16:creationId xmlns:a16="http://schemas.microsoft.com/office/drawing/2014/main" id="{61C089F3-2B23-4AB0-BBAE-A121895CF94E}"/>
              </a:ext>
            </a:extLst>
          </p:cNvPr>
          <p:cNvSpPr txBox="1"/>
          <p:nvPr/>
        </p:nvSpPr>
        <p:spPr>
          <a:xfrm>
            <a:off x="9922357" y="3149161"/>
            <a:ext cx="1786440" cy="110800"/>
          </a:xfrm>
          <a:prstGeom prst="rect">
            <a:avLst/>
          </a:prstGeom>
          <a:noFill/>
        </p:spPr>
        <p:txBody>
          <a:bodyPr wrap="square" lIns="0" tIns="0" rIns="0" bIns="0" rtlCol="0">
            <a:spAutoFit/>
          </a:bodyPr>
          <a:lstStyle/>
          <a:p>
            <a:pPr algn="l">
              <a:lnSpc>
                <a:spcPct val="90000"/>
              </a:lnSpc>
              <a:buClr>
                <a:schemeClr val="accent1"/>
              </a:buClr>
              <a:buSzPct val="110000"/>
            </a:pPr>
            <a:r>
              <a:rPr lang="da-DK" sz="800" b="1" dirty="0">
                <a:solidFill>
                  <a:schemeClr val="accent2"/>
                </a:solidFill>
              </a:rPr>
              <a:t>Reetablering</a:t>
            </a:r>
          </a:p>
        </p:txBody>
      </p:sp>
      <p:sp>
        <p:nvSpPr>
          <p:cNvPr id="6" name="Tekstfelt 5">
            <a:extLst>
              <a:ext uri="{FF2B5EF4-FFF2-40B4-BE49-F238E27FC236}">
                <a16:creationId xmlns:a16="http://schemas.microsoft.com/office/drawing/2014/main" id="{8FE39CBA-943F-4A5A-9B0B-8B524B3AC17B}"/>
              </a:ext>
            </a:extLst>
          </p:cNvPr>
          <p:cNvSpPr txBox="1"/>
          <p:nvPr/>
        </p:nvSpPr>
        <p:spPr>
          <a:xfrm>
            <a:off x="10824855" y="3136826"/>
            <a:ext cx="962220" cy="110800"/>
          </a:xfrm>
          <a:prstGeom prst="rect">
            <a:avLst/>
          </a:prstGeom>
          <a:noFill/>
        </p:spPr>
        <p:txBody>
          <a:bodyPr wrap="square" lIns="0" tIns="0" rIns="0" bIns="0" rtlCol="0">
            <a:spAutoFit/>
          </a:bodyPr>
          <a:lstStyle/>
          <a:p>
            <a:pPr algn="l">
              <a:lnSpc>
                <a:spcPct val="90000"/>
              </a:lnSpc>
              <a:buClr>
                <a:schemeClr val="accent1"/>
              </a:buClr>
              <a:buSzPct val="110000"/>
            </a:pPr>
            <a:r>
              <a:rPr lang="da-DK" sz="800" b="1" dirty="0">
                <a:solidFill>
                  <a:schemeClr val="accent2"/>
                </a:solidFill>
              </a:rPr>
              <a:t>gennemgang</a:t>
            </a:r>
          </a:p>
        </p:txBody>
      </p:sp>
      <p:pic>
        <p:nvPicPr>
          <p:cNvPr id="50" name="Grafik 49">
            <a:extLst>
              <a:ext uri="{FF2B5EF4-FFF2-40B4-BE49-F238E27FC236}">
                <a16:creationId xmlns:a16="http://schemas.microsoft.com/office/drawing/2014/main" id="{90FEA491-DCA6-4799-90A7-EC4CFD9A85B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7387" y="2551640"/>
            <a:ext cx="660781" cy="660781"/>
          </a:xfrm>
          <a:prstGeom prst="rect">
            <a:avLst/>
          </a:prstGeom>
        </p:spPr>
      </p:pic>
      <p:pic>
        <p:nvPicPr>
          <p:cNvPr id="51" name="Grafik 50">
            <a:extLst>
              <a:ext uri="{FF2B5EF4-FFF2-40B4-BE49-F238E27FC236}">
                <a16:creationId xmlns:a16="http://schemas.microsoft.com/office/drawing/2014/main" id="{9B3B9497-CDF3-4880-A8A4-FECECC6EE8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91316" y="2481448"/>
            <a:ext cx="732223" cy="732223"/>
          </a:xfrm>
          <a:prstGeom prst="rect">
            <a:avLst/>
          </a:prstGeom>
        </p:spPr>
      </p:pic>
    </p:spTree>
    <p:extLst>
      <p:ext uri="{BB962C8B-B14F-4D97-AF65-F5344CB8AC3E}">
        <p14:creationId xmlns:p14="http://schemas.microsoft.com/office/powerpoint/2010/main" val="3522154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MART" val="&lt;smart xmlns:xsi=&quot;http://www.w3.org/2001/XMLSchema-instance&quot; xmlns:xsd=&quot;http://www.w3.org/2001/XMLSchema&quot;&gt;&lt;presentationSettings hasLibraryLinks=&quot;false&quot; lastModified=&quot;2022-09-30T07:55:32.5237647Z&quot;&gt;&lt;agenda createSections=&quot;false&quot; enableNavigation=&quot;false&quot; id=&quot;c73a9268-4730-4273-8cc7-5f60c6b77888&quot; isTouched=&quot;false&quot; mode=&quot;Agenda&quot; showDuration=&quot;false&quot; showHeaders=&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80&quot; /&gt;&lt;column displayIndex=&quot;5&quot; header=&quot;Page&quot; id=&quot;db91063f-fada-4f32-86c9-9368cd93fa26&quot; visible=&quot;true&quot; width=&quot;170&quot; /&gt;&lt;/columns&gt;&lt;layout /&gt;&lt;rows /&gt;&lt;/agenda&gt;&lt;template lastModified=&quot;0001-01-01T00:00:00&quot;&gt;&lt;LayoutNames /&gt;&lt;/template&gt;&lt;theme&gt;&lt;recentColors /&gt;&lt;/theme&gt;&lt;rules&gt;&lt;disabled /&gt;&lt;/rules&gt;&lt;/presentationSettings&gt;&lt;/smar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ICSGyGeRHyy6y.pCkyaN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XoVmxBw0n7ggElWk5xD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J9gUq3.fRaukwClpStFY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0195f1c9-b5fb-450b-8b93-a77b28dcb68d&quot;&gt;&lt;agenda agendaId=&quot;e7196864-0255-436e-9084-f45f4cd4740c&quot; agendaRowId=&quot;773fa42d-2ac6-4951-b6be-d4452333e797&quot; item=&quot;1&quot; /&gt;&lt;executiveSummary isExecutiveSummary=&quot;false&quot; /&gt;&lt;/slideSettings&gt;&lt;/smart&g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8db171e5-9d47-41be-a673-3e24e44abe6c&quot; markerRow=&quot;1&quot; /&gt;&lt;/smart&gt;"/>
</p:tagLst>
</file>

<file path=ppt/tags/tag203.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00000000-0000-0000-0000-000000000000&quot; markerRow=&quot;-1&quot; /&gt;&lt;/smart&g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EM6y8Ki.nt9i7d0w4bxpRA"/>
</p:tagLst>
</file>

<file path=ppt/tags/tag206.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0195f1c9-b5fb-450b-8b93-a77b28dcb68d&quot;&gt;&lt;agenda agendaId=&quot;e7196864-0255-436e-9084-f45f4cd4740c&quot; agendaRowId=&quot;773fa42d-2ac6-4951-b6be-d4452333e797&quot; item=&quot;1&quot; /&gt;&lt;executiveSummary isExecutiveSummary=&quot;false&quot; /&gt;&lt;/slideSettings&gt;&lt;/smart&g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8db171e5-9d47-41be-a673-3e24e44abe6c&quot; markerRow=&quot;1&quot; /&gt;&lt;/smart&gt;"/>
</p:tagLst>
</file>

<file path=ppt/tags/tag209.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00000000-0000-0000-0000-000000000000&quot; markerRow=&quot;-1&quot; /&gt;&lt;/smart&g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mUXPTfxW0xQoETHpuJRmN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UXPTfxW0xQoETHpuJRmNA"/>
</p:tagLst>
</file>

<file path=ppt/tags/tag214.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0195f1c9-b5fb-450b-8b93-a77b28dcb68d&quot;&gt;&lt;agenda agendaId=&quot;e7196864-0255-436e-9084-f45f4cd4740c&quot; agendaRowId=&quot;773fa42d-2ac6-4951-b6be-d4452333e797&quot; item=&quot;1&quot; /&gt;&lt;executiveSummary isExecutiveSummary=&quot;false&quot; /&gt;&lt;/slideSettings&gt;&lt;/smart&g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8db171e5-9d47-41be-a673-3e24e44abe6c&quot; markerRow=&quot;1&quot; /&gt;&lt;/smart&gt;"/>
</p:tagLst>
</file>

<file path=ppt/tags/tag217.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00000000-0000-0000-0000-000000000000&quot; markerRow=&quot;-1&quot; /&gt;&lt;/smart&gt;"/>
</p:tagLst>
</file>

<file path=ppt/tags/tag218.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0195f1c9-b5fb-450b-8b93-a77b28dcb68d&quot;&gt;&lt;agenda agendaId=&quot;e7196864-0255-436e-9084-f45f4cd4740c&quot; agendaRowId=&quot;773fa42d-2ac6-4951-b6be-d4452333e797&quot; item=&quot;1&quot; /&gt;&lt;executiveSummary isExecutiveSummary=&quot;false&quot; /&gt;&lt;/slideSettings&gt;&lt;/smart&gt;"/>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8db171e5-9d47-41be-a673-3e24e44abe6c&quot; markerRow=&quot;1&quot; /&gt;&lt;/smart&gt;"/>
</p:tagLst>
</file>

<file path=ppt/tags/tag221.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hapeSettings id=&quot;00000000-0000-0000-0000-000000000000&quot; markerRow=&quot;-1&quot; /&gt;&lt;/smart&g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ICSGyGeRHyy6y.pCkya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XoVmxBw0n7ggElWk5xD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_yaAmzXaswcEXzc9l2SL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AXnn.cFmjsdecppwkd1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M0dRnQYPu2cdOZ4jLmq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C8M9LTZOzA6uSQtH5i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ZcN4IyrLB7sNjFPtxOe_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Uw7mPWHod3d8mP_PBSr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ICSGyGeRHyy6y.pCkya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XoVmxBw0n7ggElWk5xD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gk4McnraU6rWvRGWkBP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tfvfDmxKroi0WR2Dz2JI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rNCn8BNqxhBaU2f2RW3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Præsentation1" id="{AD76E145-D573-4997-B5C0-1D47D8B54BD8}" vid="{485AEC1A-B70B-4FE7-A15B-20957CF1F179}"/>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Præsentation1" id="{3C98DE1B-09CB-4793-BC53-00612D9857EA}" vid="{B8875255-24DB-4A37-935C-EBD9B00AC0D4}"/>
    </a:ext>
  </a:extLst>
</a:theme>
</file>

<file path=ppt/theme/theme3.xml><?xml version="1.0" encoding="utf-8"?>
<a:theme xmlns:a="http://schemas.openxmlformats.org/drawingml/2006/main" name="2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TDC Net Template_vFinal  -  Skrivebeskyttet" id="{6271DD74-CF21-4982-BE77-D2BDF76301F5}" vid="{FFF19980-CCFE-4DA8-96FC-D2BB55FA0B22}"/>
    </a:ext>
  </a:extLst>
</a:theme>
</file>

<file path=ppt/theme/theme4.xml><?xml version="1.0" encoding="utf-8"?>
<a:theme xmlns:a="http://schemas.openxmlformats.org/drawingml/2006/main" name="3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Præsentation1" id="{3C98DE1B-09CB-4793-BC53-00612D9857EA}" vid="{B8875255-24DB-4A37-935C-EBD9B00AC0D4}"/>
    </a:ext>
  </a:extLst>
</a:theme>
</file>

<file path=ppt/theme/theme5.xml><?xml version="1.0" encoding="utf-8"?>
<a:theme xmlns:a="http://schemas.openxmlformats.org/drawingml/2006/main" name="4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TDC Net Template_vFinal  -  Skrivebeskyttet" id="{6271DD74-CF21-4982-BE77-D2BDF76301F5}" vid="{FFF19980-CCFE-4DA8-96FC-D2BB55FA0B22}"/>
    </a:ext>
  </a:extLst>
</a:theme>
</file>

<file path=ppt/theme/theme6.xml><?xml version="1.0" encoding="utf-8"?>
<a:theme xmlns:a="http://schemas.openxmlformats.org/drawingml/2006/main" name="5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Præsentation1" id="{3C98DE1B-09CB-4793-BC53-00612D9857EA}" vid="{B8875255-24DB-4A37-935C-EBD9B00AC0D4}"/>
    </a:ext>
  </a:extLst>
</a:theme>
</file>

<file path=ppt/theme/theme7.xml><?xml version="1.0" encoding="utf-8"?>
<a:theme xmlns:a="http://schemas.openxmlformats.org/drawingml/2006/main" name="6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TDC Net Template_vFinal  -  Skrivebeskyttet" id="{6271DD74-CF21-4982-BE77-D2BDF76301F5}" vid="{FFF19980-CCFE-4DA8-96FC-D2BB55FA0B22}"/>
    </a:ext>
  </a:extLst>
</a:theme>
</file>

<file path=ppt/theme/theme8.xml><?xml version="1.0" encoding="utf-8"?>
<a:theme xmlns:a="http://schemas.openxmlformats.org/drawingml/2006/main" name="7_TDC Net">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l">
          <a:lnSpc>
            <a:spcPct val="90000"/>
          </a:lnSpc>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a:lnSpc>
            <a:spcPct val="90000"/>
          </a:lnSpc>
          <a:buClr>
            <a:schemeClr val="accent1"/>
          </a:buClr>
          <a:buSzPct val="110000"/>
          <a:buFont typeface="Arial" panose="020B0604020202020204" pitchFamily="34" charset="0"/>
          <a:buChar char="●"/>
          <a:defRPr sz="1400" dirty="0" err="1" smtClean="0">
            <a:solidFill>
              <a:schemeClr val="accent2"/>
            </a:solidFill>
          </a:defRPr>
        </a:defPPr>
      </a:lstStyle>
    </a:txDef>
  </a:objectDefaults>
  <a:extraClrSchemeLst/>
  <a:extLst>
    <a:ext uri="{05A4C25C-085E-4340-85A3-A5531E510DB2}">
      <thm15:themeFamily xmlns:thm15="http://schemas.microsoft.com/office/thememl/2012/main" name="TDC NET" id="{81F101E8-FEB5-4356-AA06-6479F7DFCCA6}" vid="{F77ECCB3-30B6-4340-A7F8-A6EFEACBB418}"/>
    </a:ext>
  </a:extLst>
</a:theme>
</file>

<file path=ppt/theme/theme9.xml><?xml version="1.0" encoding="utf-8"?>
<a:theme xmlns:a="http://schemas.openxmlformats.org/drawingml/2006/main" name="Office-tema">
  <a:themeElements>
    <a:clrScheme name="TDC Net">
      <a:dk1>
        <a:sysClr val="windowText" lastClr="000000"/>
      </a:dk1>
      <a:lt1>
        <a:sysClr val="window" lastClr="FFFFFF"/>
      </a:lt1>
      <a:dk2>
        <a:srgbClr val="5AAA78"/>
      </a:dk2>
      <a:lt2>
        <a:srgbClr val="D25555"/>
      </a:lt2>
      <a:accent1>
        <a:srgbClr val="3755D7"/>
      </a:accent1>
      <a:accent2>
        <a:srgbClr val="19285F"/>
      </a:accent2>
      <a:accent3>
        <a:srgbClr val="73A0E1"/>
      </a:accent3>
      <a:accent4>
        <a:srgbClr val="BED7F5"/>
      </a:accent4>
      <a:accent5>
        <a:srgbClr val="503C3C"/>
      </a:accent5>
      <a:accent6>
        <a:srgbClr val="F0DCC8"/>
      </a:accent6>
      <a:hlink>
        <a:srgbClr val="3755D7"/>
      </a:hlink>
      <a:folHlink>
        <a:srgbClr val="19285F"/>
      </a:folHlink>
    </a:clrScheme>
    <a:fontScheme name="TDC Net">
      <a:majorFont>
        <a:latin typeface="TDC NET"/>
        <a:ea typeface=""/>
        <a:cs typeface=""/>
      </a:majorFont>
      <a:minorFont>
        <a:latin typeface="TDC NET"/>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DB9FC114954EB4295746FE46AA5F7E8" ma:contentTypeVersion="10" ma:contentTypeDescription="Opret et nyt dokument." ma:contentTypeScope="" ma:versionID="0ce51f83dd3506aa3eca7815feb849f1">
  <xsd:schema xmlns:xsd="http://www.w3.org/2001/XMLSchema" xmlns:xs="http://www.w3.org/2001/XMLSchema" xmlns:p="http://schemas.microsoft.com/office/2006/metadata/properties" xmlns:ns2="471b0700-11fa-4043-8d18-2ca328f376a0" xmlns:ns3="17452d50-de6a-4907-8712-94ef18b7df1a" targetNamespace="http://schemas.microsoft.com/office/2006/metadata/properties" ma:root="true" ma:fieldsID="1002a0cce7d77afad03bb96972b1ff17" ns2:_="" ns3:_="">
    <xsd:import namespace="471b0700-11fa-4043-8d18-2ca328f376a0"/>
    <xsd:import namespace="17452d50-de6a-4907-8712-94ef18b7df1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1b0700-11fa-4043-8d18-2ca328f376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7452d50-de6a-4907-8712-94ef18b7df1a" elementFormDefault="qualified">
    <xsd:import namespace="http://schemas.microsoft.com/office/2006/documentManagement/types"/>
    <xsd:import namespace="http://schemas.microsoft.com/office/infopath/2007/PartnerControls"/>
    <xsd:element name="SharedWithUsers" ma:index="14"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smart settings="{&quot;Id&quot;:&quot;8db171e5-9d47-41be-a673-3e24e44abe6c&quot;,&quot;MarkerRow&quot;:2}"/>
</file>

<file path=customXml/item11.xml><?xml version="1.0" encoding="utf-8"?>
<smart xmlns:xsi="http://www.w3.org/2001/XMLSchema-instance" xmlns:xsd="http://www.w3.org/2001/XMLSchema">
  <slideSettings id="0195f1c9-b5fb-450b-8b93-a77b28dcb68d">
    <agenda agendaId="49c06f24-4f5f-47a8-8048-4a6835999357" agendaRowId="00000000-0000-0000-0000-000000000000" item="2"/>
    <executiveSummary isExecutiveSummary="false"/>
  </slideSettings>
</smart>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smart settings="{&quot;Id&quot;:&quot;8db171e5-9d47-41be-a673-3e24e44abe6c&quot;,&quot;MarkerRow&quot;:2}"/>
</file>

<file path=customXml/item5.xml><?xml version="1.0" encoding="utf-8"?>
<smart xmlns:xsi="http://www.w3.org/2001/XMLSchema-instance" xmlns:xsd="http://www.w3.org/2001/XMLSchema">
  <slideSettings id="0195f1c9-b5fb-450b-8b93-a77b28dcb68d">
    <agenda agendaId="49c06f24-4f5f-47a8-8048-4a6835999357" agendaRowId="00000000-0000-0000-0000-000000000000" item="2"/>
    <executiveSummary isExecutiveSummary="false"/>
  </slideSettings>
</smart>
</file>

<file path=customXml/item6.xml><?xml version="1.0" encoding="utf-8"?>
<smart settings="{&quot;Id&quot;:&quot;8db171e5-9d47-41be-a673-3e24e44abe6c&quot;,&quot;MarkerRow&quot;:2}"/>
</file>

<file path=customXml/item7.xml><?xml version="1.0" encoding="utf-8"?>
<smart xmlns:xsi="http://www.w3.org/2001/XMLSchema-instance" xmlns:xsd="http://www.w3.org/2001/XMLSchema">
  <slideSettings id="0195f1c9-b5fb-450b-8b93-a77b28dcb68d">
    <agenda agendaId="49c06f24-4f5f-47a8-8048-4a6835999357" agendaRowId="00000000-0000-0000-0000-000000000000" item="2"/>
    <executiveSummary isExecutiveSummary="false"/>
  </slideSettings>
</smart>
</file>

<file path=customXml/item8.xml><?xml version="1.0" encoding="utf-8"?>
<smart settings="{&quot;Id&quot;:&quot;8db171e5-9d47-41be-a673-3e24e44abe6c&quot;,&quot;MarkerRow&quot;:2}"/>
</file>

<file path=customXml/item9.xml><?xml version="1.0" encoding="utf-8"?>
<smart xmlns:xsi="http://www.w3.org/2001/XMLSchema-instance" xmlns:xsd="http://www.w3.org/2001/XMLSchema">
  <slideSettings id="0195f1c9-b5fb-450b-8b93-a77b28dcb68d">
    <agenda agendaId="49c06f24-4f5f-47a8-8048-4a6835999357" agendaRowId="00000000-0000-0000-0000-000000000000" item="2"/>
    <executiveSummary isExecutiveSummary="false"/>
  </slideSettings>
</smart>
</file>

<file path=customXml/itemProps1.xml><?xml version="1.0" encoding="utf-8"?>
<ds:datastoreItem xmlns:ds="http://schemas.openxmlformats.org/officeDocument/2006/customXml" ds:itemID="{A92E1653-C1E7-4ECA-865A-3A46339501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1b0700-11fa-4043-8d18-2ca328f376a0"/>
    <ds:schemaRef ds:uri="17452d50-de6a-4907-8712-94ef18b7df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16AF56D8-3D62-40F2-9F9A-98D34ED9E1D7}">
  <ds:schemaRefs/>
</ds:datastoreItem>
</file>

<file path=customXml/itemProps11.xml><?xml version="1.0" encoding="utf-8"?>
<ds:datastoreItem xmlns:ds="http://schemas.openxmlformats.org/officeDocument/2006/customXml" ds:itemID="{701D3084-2D4F-495A-869D-C478E6821415}">
  <ds:schemaRefs>
    <ds:schemaRef ds:uri="http://www.w3.org/2001/XMLSchema"/>
  </ds:schemaRefs>
</ds:datastoreItem>
</file>

<file path=customXml/itemProps2.xml><?xml version="1.0" encoding="utf-8"?>
<ds:datastoreItem xmlns:ds="http://schemas.openxmlformats.org/officeDocument/2006/customXml" ds:itemID="{491C3D33-63F3-4409-A2B6-BE4E21440E90}">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17452d50-de6a-4907-8712-94ef18b7df1a"/>
    <ds:schemaRef ds:uri="471b0700-11fa-4043-8d18-2ca328f376a0"/>
    <ds:schemaRef ds:uri="http://www.w3.org/XML/1998/namespace"/>
  </ds:schemaRefs>
</ds:datastoreItem>
</file>

<file path=customXml/itemProps3.xml><?xml version="1.0" encoding="utf-8"?>
<ds:datastoreItem xmlns:ds="http://schemas.openxmlformats.org/officeDocument/2006/customXml" ds:itemID="{C5EE23B7-1F03-4DBF-9FD7-ACA50A7A870E}">
  <ds:schemaRefs>
    <ds:schemaRef ds:uri="http://schemas.microsoft.com/sharepoint/v3/contenttype/forms"/>
  </ds:schemaRefs>
</ds:datastoreItem>
</file>

<file path=customXml/itemProps4.xml><?xml version="1.0" encoding="utf-8"?>
<ds:datastoreItem xmlns:ds="http://schemas.openxmlformats.org/officeDocument/2006/customXml" ds:itemID="{6F5E9B10-F092-4294-B313-230045C142AC}">
  <ds:schemaRefs/>
</ds:datastoreItem>
</file>

<file path=customXml/itemProps5.xml><?xml version="1.0" encoding="utf-8"?>
<ds:datastoreItem xmlns:ds="http://schemas.openxmlformats.org/officeDocument/2006/customXml" ds:itemID="{FDDA6964-D0D1-47BA-B0C1-EE25F0EADFD7}">
  <ds:schemaRefs>
    <ds:schemaRef ds:uri="http://www.w3.org/2001/XMLSchema"/>
  </ds:schemaRefs>
</ds:datastoreItem>
</file>

<file path=customXml/itemProps6.xml><?xml version="1.0" encoding="utf-8"?>
<ds:datastoreItem xmlns:ds="http://schemas.openxmlformats.org/officeDocument/2006/customXml" ds:itemID="{201B1A59-00C4-4E1E-A989-0BFD95B4B480}">
  <ds:schemaRefs/>
</ds:datastoreItem>
</file>

<file path=customXml/itemProps7.xml><?xml version="1.0" encoding="utf-8"?>
<ds:datastoreItem xmlns:ds="http://schemas.openxmlformats.org/officeDocument/2006/customXml" ds:itemID="{C2F5A3F3-4A02-494A-A793-EB6EA7B94B7C}">
  <ds:schemaRefs>
    <ds:schemaRef ds:uri="http://www.w3.org/2001/XMLSchema"/>
  </ds:schemaRefs>
</ds:datastoreItem>
</file>

<file path=customXml/itemProps8.xml><?xml version="1.0" encoding="utf-8"?>
<ds:datastoreItem xmlns:ds="http://schemas.openxmlformats.org/officeDocument/2006/customXml" ds:itemID="{CC64C637-136A-46EC-9067-CACA7161B774}">
  <ds:schemaRefs/>
</ds:datastoreItem>
</file>

<file path=customXml/itemProps9.xml><?xml version="1.0" encoding="utf-8"?>
<ds:datastoreItem xmlns:ds="http://schemas.openxmlformats.org/officeDocument/2006/customXml" ds:itemID="{2D010507-87F2-4F43-AC08-8104C45EFCA1}">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22</Words>
  <Application>Microsoft Office PowerPoint</Application>
  <PresentationFormat>Widescreen</PresentationFormat>
  <Paragraphs>139</Paragraphs>
  <Slides>17</Slides>
  <Notes>2</Notes>
  <HiddenSlides>0</HiddenSlides>
  <MMClips>0</MMClips>
  <ScaleCrop>false</ScaleCrop>
  <HeadingPairs>
    <vt:vector size="8" baseType="variant">
      <vt:variant>
        <vt:lpstr>Benyttede skrifttyper</vt:lpstr>
      </vt:variant>
      <vt:variant>
        <vt:i4>4</vt:i4>
      </vt:variant>
      <vt:variant>
        <vt:lpstr>Tema</vt:lpstr>
      </vt:variant>
      <vt:variant>
        <vt:i4>8</vt:i4>
      </vt:variant>
      <vt:variant>
        <vt:lpstr>Integrerede OLE-servere</vt:lpstr>
      </vt:variant>
      <vt:variant>
        <vt:i4>1</vt:i4>
      </vt:variant>
      <vt:variant>
        <vt:lpstr>Slidetitler</vt:lpstr>
      </vt:variant>
      <vt:variant>
        <vt:i4>17</vt:i4>
      </vt:variant>
    </vt:vector>
  </HeadingPairs>
  <TitlesOfParts>
    <vt:vector size="30" baseType="lpstr">
      <vt:lpstr>TDC</vt:lpstr>
      <vt:lpstr>Arial</vt:lpstr>
      <vt:lpstr>TDC NET Office</vt:lpstr>
      <vt:lpstr>TDC NET</vt:lpstr>
      <vt:lpstr>TDC Net</vt:lpstr>
      <vt:lpstr>1_TDC Net</vt:lpstr>
      <vt:lpstr>2_TDC Net</vt:lpstr>
      <vt:lpstr>3_TDC Net</vt:lpstr>
      <vt:lpstr>4_TDC Net</vt:lpstr>
      <vt:lpstr>5_TDC Net</vt:lpstr>
      <vt:lpstr>6_TDC Net</vt:lpstr>
      <vt:lpstr>7_TDC Net</vt:lpstr>
      <vt:lpstr>think-cell Slide</vt:lpstr>
      <vt:lpstr>Informationsmøde 22.november 2023 Andelsboligforeningen Vegavænget</vt:lpstr>
      <vt:lpstr>Agenda</vt:lpstr>
      <vt:lpstr>TDC NET har formet den danske kommunikations infrastruktur siden 1890 </vt:lpstr>
      <vt:lpstr>TDC Group blev splittet op i to uafhængige virksomheder i 2019 </vt:lpstr>
      <vt:lpstr>Agenda</vt:lpstr>
      <vt:lpstr>Hvorfor vælge tilslutning til Fiber?</vt:lpstr>
      <vt:lpstr>Og hvorfor så vælge TDC NET?</vt:lpstr>
      <vt:lpstr>Agenda</vt:lpstr>
      <vt:lpstr>Overblik over fiberleverance</vt:lpstr>
      <vt:lpstr>1. Opstart</vt:lpstr>
      <vt:lpstr>2. Gravning, Etablering og reetablering</vt:lpstr>
      <vt:lpstr>3. Installation &amp; Aktivering</vt:lpstr>
      <vt:lpstr>4. Færdigmelding</vt:lpstr>
      <vt:lpstr>Agenda</vt:lpstr>
      <vt:lpstr>Opsummering</vt:lpstr>
      <vt:lpstr>PowerPoint-præsentation</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DC NET</dc:title>
  <dc:creator/>
  <cp:keywords/>
  <dc:description/>
  <cp:lastModifiedBy/>
  <cp:revision>75</cp:revision>
  <dcterms:created xsi:type="dcterms:W3CDTF">2020-11-21T03:40:33Z</dcterms:created>
  <dcterms:modified xsi:type="dcterms:W3CDTF">2023-11-22T08:1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MSIP_Label_7b8050ec-6b22-4f63-8ef7-8f854ab56a77_Enabled">
    <vt:lpwstr>True</vt:lpwstr>
  </property>
  <property fmtid="{D5CDD505-2E9C-101B-9397-08002B2CF9AE}" pid="4" name="MSIP_Label_7b8050ec-6b22-4f63-8ef7-8f854ab56a77_SiteId">
    <vt:lpwstr>e8dcf6e6-3acc-4af9-9cb2-77f688cb688b</vt:lpwstr>
  </property>
  <property fmtid="{D5CDD505-2E9C-101B-9397-08002B2CF9AE}" pid="5" name="MSIP_Label_7b8050ec-6b22-4f63-8ef7-8f854ab56a77_Owner">
    <vt:lpwstr>pea@tdc.dk</vt:lpwstr>
  </property>
  <property fmtid="{D5CDD505-2E9C-101B-9397-08002B2CF9AE}" pid="6" name="MSIP_Label_7b8050ec-6b22-4f63-8ef7-8f854ab56a77_SetDate">
    <vt:lpwstr>2019-11-25T23:33:34.8004301Z</vt:lpwstr>
  </property>
  <property fmtid="{D5CDD505-2E9C-101B-9397-08002B2CF9AE}" pid="7" name="MSIP_Label_7b8050ec-6b22-4f63-8ef7-8f854ab56a77_Name">
    <vt:lpwstr>TDC Group - Internal</vt:lpwstr>
  </property>
  <property fmtid="{D5CDD505-2E9C-101B-9397-08002B2CF9AE}" pid="8" name="MSIP_Label_7b8050ec-6b22-4f63-8ef7-8f854ab56a77_Application">
    <vt:lpwstr>Microsoft Azure Information Protection</vt:lpwstr>
  </property>
  <property fmtid="{D5CDD505-2E9C-101B-9397-08002B2CF9AE}" pid="9" name="MSIP_Label_7b8050ec-6b22-4f63-8ef7-8f854ab56a77_Extended_MSFT_Method">
    <vt:lpwstr>Automatic</vt:lpwstr>
  </property>
  <property fmtid="{D5CDD505-2E9C-101B-9397-08002B2CF9AE}" pid="10" name="Sensitivity">
    <vt:lpwstr>TDC Group - Internal</vt:lpwstr>
  </property>
  <property fmtid="{D5CDD505-2E9C-101B-9397-08002B2CF9AE}" pid="11" name="ContentTypeId">
    <vt:lpwstr>0x0101000DB9FC114954EB4295746FE46AA5F7E8</vt:lpwstr>
  </property>
</Properties>
</file>